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4"/>
  </p:sldMasterIdLst>
  <p:notesMasterIdLst>
    <p:notesMasterId r:id="rId18"/>
  </p:notesMasterIdLst>
  <p:handoutMasterIdLst>
    <p:handoutMasterId r:id="rId19"/>
  </p:handoutMasterIdLst>
  <p:sldIdLst>
    <p:sldId id="274" r:id="rId5"/>
    <p:sldId id="2147473200" r:id="rId6"/>
    <p:sldId id="2147473213" r:id="rId7"/>
    <p:sldId id="2147473203" r:id="rId8"/>
    <p:sldId id="2147473206" r:id="rId9"/>
    <p:sldId id="2147473207" r:id="rId10"/>
    <p:sldId id="2147473208" r:id="rId11"/>
    <p:sldId id="2147473202" r:id="rId12"/>
    <p:sldId id="2147473209" r:id="rId13"/>
    <p:sldId id="2147473210" r:id="rId14"/>
    <p:sldId id="2147473211" r:id="rId15"/>
    <p:sldId id="2147473212" r:id="rId16"/>
    <p:sldId id="272" r:id="rId17"/>
  </p:sldIdLst>
  <p:sldSz cx="12192000" cy="6858000"/>
  <p:notesSz cx="6858000" cy="9144000"/>
  <p:custDataLst>
    <p:tags r:id="rId20"/>
  </p:custDataLst>
  <p:defaultTextStyle>
    <a:defPPr>
      <a:defRPr sz="1800" kern="1200">
        <a:solidFill>
          <a:schemeClr val="tx1"/>
        </a:solidFill>
        <a:latin typeface="+mn-lt"/>
        <a:ea typeface="+mn-ea"/>
        <a:cs typeface="+mn-cs"/>
      </a:defRPr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8F027C2-86C1-4064-B05D-611DD9575ACD}">
          <p14:sldIdLst>
            <p14:sldId id="274"/>
            <p14:sldId id="2147473200"/>
            <p14:sldId id="2147473213"/>
            <p14:sldId id="2147473203"/>
            <p14:sldId id="2147473206"/>
            <p14:sldId id="2147473207"/>
            <p14:sldId id="2147473208"/>
            <p14:sldId id="2147473202"/>
            <p14:sldId id="2147473209"/>
            <p14:sldId id="2147473210"/>
            <p14:sldId id="2147473211"/>
            <p14:sldId id="2147473212"/>
            <p14:sldId id="27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FFCC"/>
    <a:srgbClr val="CCFFCC"/>
    <a:srgbClr val="EACF82"/>
    <a:srgbClr val="4472C4"/>
    <a:srgbClr val="CCFF99"/>
    <a:srgbClr val="BABABA"/>
    <a:srgbClr val="E2F0D9"/>
    <a:srgbClr val="D0D0D0"/>
    <a:srgbClr val="E7EA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36DAA6F-23B3-4892-B3A8-F83F46406EB9}" v="92" dt="2025-03-21T10:00:48.0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110" d="100"/>
          <a:sy n="110" d="100"/>
        </p:scale>
        <p:origin x="594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sieh, Shawn" userId="f93cd79d-7438-4359-8c75-142aea53e1dd" providerId="ADAL" clId="{C3C726DF-DAD7-48F1-BE4F-A1ADA8B2DAFA}"/>
    <pc:docChg chg="custSel addSld modSld sldOrd">
      <pc:chgData name="Hsieh, Shawn" userId="f93cd79d-7438-4359-8c75-142aea53e1dd" providerId="ADAL" clId="{C3C726DF-DAD7-48F1-BE4F-A1ADA8B2DAFA}" dt="2023-09-01T03:09:29.687" v="238"/>
      <pc:docMkLst>
        <pc:docMk/>
      </pc:docMkLst>
      <pc:sldChg chg="modSp mod">
        <pc:chgData name="Hsieh, Shawn" userId="f93cd79d-7438-4359-8c75-142aea53e1dd" providerId="ADAL" clId="{C3C726DF-DAD7-48F1-BE4F-A1ADA8B2DAFA}" dt="2023-09-01T02:36:20.345" v="25" actId="20577"/>
        <pc:sldMkLst>
          <pc:docMk/>
          <pc:sldMk cId="3557367230" sldId="281"/>
        </pc:sldMkLst>
      </pc:sldChg>
      <pc:sldChg chg="add ord">
        <pc:chgData name="Hsieh, Shawn" userId="f93cd79d-7438-4359-8c75-142aea53e1dd" providerId="ADAL" clId="{C3C726DF-DAD7-48F1-BE4F-A1ADA8B2DAFA}" dt="2023-09-01T03:09:29.687" v="238"/>
        <pc:sldMkLst>
          <pc:docMk/>
          <pc:sldMk cId="2711323462" sldId="282"/>
        </pc:sldMkLst>
      </pc:sldChg>
      <pc:sldChg chg="addSp delSp modSp mod">
        <pc:chgData name="Hsieh, Shawn" userId="f93cd79d-7438-4359-8c75-142aea53e1dd" providerId="ADAL" clId="{C3C726DF-DAD7-48F1-BE4F-A1ADA8B2DAFA}" dt="2023-09-01T02:52:33.923" v="236" actId="20577"/>
        <pc:sldMkLst>
          <pc:docMk/>
          <pc:sldMk cId="535462312" sldId="2147473125"/>
        </pc:sldMkLst>
      </pc:sldChg>
    </pc:docChg>
  </pc:docChgLst>
  <pc:docChgLst>
    <pc:chgData name="Ryan Chen" userId="aca00709-f626-4c6e-ba10-d5632b32d240" providerId="ADAL" clId="{826B1C61-D6FB-4569-A737-148BFFB95652}"/>
    <pc:docChg chg="undo custSel addSld delSld modSld sldOrd modSection replTag">
      <pc:chgData name="Ryan Chen" userId="aca00709-f626-4c6e-ba10-d5632b32d240" providerId="ADAL" clId="{826B1C61-D6FB-4569-A737-148BFFB95652}" dt="2023-08-22T13:24:10.711" v="886"/>
      <pc:docMkLst>
        <pc:docMk/>
      </pc:docMkLst>
      <pc:sldChg chg="ord">
        <pc:chgData name="Ryan Chen" userId="aca00709-f626-4c6e-ba10-d5632b32d240" providerId="ADAL" clId="{826B1C61-D6FB-4569-A737-148BFFB95652}" dt="2023-08-22T13:22:25.141" v="875"/>
        <pc:sldMkLst>
          <pc:docMk/>
          <pc:sldMk cId="3887982491" sldId="272"/>
        </pc:sldMkLst>
      </pc:sldChg>
      <pc:sldChg chg="addSp modSp add">
        <pc:chgData name="Ryan Chen" userId="aca00709-f626-4c6e-ba10-d5632b32d240" providerId="ADAL" clId="{826B1C61-D6FB-4569-A737-148BFFB95652}" dt="2023-08-22T13:22:58.282" v="879"/>
        <pc:sldMkLst>
          <pc:docMk/>
          <pc:sldMk cId="3557367230" sldId="281"/>
        </pc:sldMkLst>
      </pc:sldChg>
      <pc:sldChg chg="del">
        <pc:chgData name="Ryan Chen" userId="aca00709-f626-4c6e-ba10-d5632b32d240" providerId="ADAL" clId="{826B1C61-D6FB-4569-A737-148BFFB95652}" dt="2023-08-22T13:21:18.958" v="867" actId="47"/>
        <pc:sldMkLst>
          <pc:docMk/>
          <pc:sldMk cId="461710636" sldId="623"/>
        </pc:sldMkLst>
      </pc:sldChg>
      <pc:sldChg chg="del">
        <pc:chgData name="Ryan Chen" userId="aca00709-f626-4c6e-ba10-d5632b32d240" providerId="ADAL" clId="{826B1C61-D6FB-4569-A737-148BFFB95652}" dt="2023-08-22T13:21:17.273" v="866" actId="47"/>
        <pc:sldMkLst>
          <pc:docMk/>
          <pc:sldMk cId="411799343" sldId="624"/>
        </pc:sldMkLst>
      </pc:sldChg>
      <pc:sldChg chg="addSp delSp modSp mod">
        <pc:chgData name="Ryan Chen" userId="aca00709-f626-4c6e-ba10-d5632b32d240" providerId="ADAL" clId="{826B1C61-D6FB-4569-A737-148BFFB95652}" dt="2023-08-22T13:20:06.061" v="496"/>
        <pc:sldMkLst>
          <pc:docMk/>
          <pc:sldMk cId="487370219" sldId="2147472916"/>
        </pc:sldMkLst>
      </pc:sldChg>
      <pc:sldChg chg="addSp delSp modSp mod">
        <pc:chgData name="Ryan Chen" userId="aca00709-f626-4c6e-ba10-d5632b32d240" providerId="ADAL" clId="{826B1C61-D6FB-4569-A737-148BFFB95652}" dt="2023-08-22T13:20:06.438" v="602"/>
        <pc:sldMkLst>
          <pc:docMk/>
          <pc:sldMk cId="1464975751" sldId="2147472917"/>
        </pc:sldMkLst>
      </pc:sldChg>
      <pc:sldChg chg="addSp delSp modSp mod">
        <pc:chgData name="Ryan Chen" userId="aca00709-f626-4c6e-ba10-d5632b32d240" providerId="ADAL" clId="{826B1C61-D6FB-4569-A737-148BFFB95652}" dt="2023-08-22T13:20:06.222" v="549"/>
        <pc:sldMkLst>
          <pc:docMk/>
          <pc:sldMk cId="2026543933" sldId="2147472966"/>
        </pc:sldMkLst>
      </pc:sldChg>
      <pc:sldChg chg="addSp delSp modSp mod">
        <pc:chgData name="Ryan Chen" userId="aca00709-f626-4c6e-ba10-d5632b32d240" providerId="ADAL" clId="{826B1C61-D6FB-4569-A737-148BFFB95652}" dt="2023-08-22T13:20:06.613" v="655"/>
        <pc:sldMkLst>
          <pc:docMk/>
          <pc:sldMk cId="574881004" sldId="2147472999"/>
        </pc:sldMkLst>
      </pc:sldChg>
      <pc:sldChg chg="modSp mod">
        <pc:chgData name="Ryan Chen" userId="aca00709-f626-4c6e-ba10-d5632b32d240" providerId="ADAL" clId="{826B1C61-D6FB-4569-A737-148BFFB95652}" dt="2023-08-22T13:15:27.950" v="92" actId="20577"/>
        <pc:sldMkLst>
          <pc:docMk/>
          <pc:sldMk cId="606718045" sldId="2147473084"/>
        </pc:sldMkLst>
      </pc:sldChg>
      <pc:sldChg chg="addSp delSp modSp mod">
        <pc:chgData name="Ryan Chen" userId="aca00709-f626-4c6e-ba10-d5632b32d240" providerId="ADAL" clId="{826B1C61-D6FB-4569-A737-148BFFB95652}" dt="2023-08-22T13:20:06.768" v="708"/>
        <pc:sldMkLst>
          <pc:docMk/>
          <pc:sldMk cId="2178920054" sldId="2147473099"/>
        </pc:sldMkLst>
      </pc:sldChg>
      <pc:sldChg chg="addSp delSp modSp mod">
        <pc:chgData name="Ryan Chen" userId="aca00709-f626-4c6e-ba10-d5632b32d240" providerId="ADAL" clId="{826B1C61-D6FB-4569-A737-148BFFB95652}" dt="2023-08-22T13:20:06.940" v="761"/>
        <pc:sldMkLst>
          <pc:docMk/>
          <pc:sldMk cId="2741573247" sldId="2147473119"/>
        </pc:sldMkLst>
      </pc:sldChg>
      <pc:sldChg chg="del">
        <pc:chgData name="Ryan Chen" userId="aca00709-f626-4c6e-ba10-d5632b32d240" providerId="ADAL" clId="{826B1C61-D6FB-4569-A737-148BFFB95652}" dt="2023-08-22T13:20:23.843" v="859" actId="47"/>
        <pc:sldMkLst>
          <pc:docMk/>
          <pc:sldMk cId="1806998817" sldId="2147473120"/>
        </pc:sldMkLst>
      </pc:sldChg>
      <pc:sldChg chg="del">
        <pc:chgData name="Ryan Chen" userId="aca00709-f626-4c6e-ba10-d5632b32d240" providerId="ADAL" clId="{826B1C61-D6FB-4569-A737-148BFFB95652}" dt="2023-08-22T13:22:41.619" v="877" actId="47"/>
        <pc:sldMkLst>
          <pc:docMk/>
          <pc:sldMk cId="3930901498" sldId="2147473132"/>
        </pc:sldMkLst>
      </pc:sldChg>
      <pc:sldChg chg="delSp modSp mod ord">
        <pc:chgData name="Ryan Chen" userId="aca00709-f626-4c6e-ba10-d5632b32d240" providerId="ADAL" clId="{826B1C61-D6FB-4569-A737-148BFFB95652}" dt="2023-08-22T13:22:14.835" v="873"/>
        <pc:sldMkLst>
          <pc:docMk/>
          <pc:sldMk cId="3335660132" sldId="2147473133"/>
        </pc:sldMkLst>
      </pc:sldChg>
      <pc:sldChg chg="del">
        <pc:chgData name="Ryan Chen" userId="aca00709-f626-4c6e-ba10-d5632b32d240" providerId="ADAL" clId="{826B1C61-D6FB-4569-A737-148BFFB95652}" dt="2023-08-22T13:20:26.852" v="861" actId="47"/>
        <pc:sldMkLst>
          <pc:docMk/>
          <pc:sldMk cId="2914927422" sldId="2147473135"/>
        </pc:sldMkLst>
      </pc:sldChg>
      <pc:sldChg chg="del">
        <pc:chgData name="Ryan Chen" userId="aca00709-f626-4c6e-ba10-d5632b32d240" providerId="ADAL" clId="{826B1C61-D6FB-4569-A737-148BFFB95652}" dt="2023-08-22T13:20:25.030" v="860" actId="47"/>
        <pc:sldMkLst>
          <pc:docMk/>
          <pc:sldMk cId="4276102211" sldId="2147473136"/>
        </pc:sldMkLst>
      </pc:sldChg>
      <pc:sldChg chg="ord">
        <pc:chgData name="Ryan Chen" userId="aca00709-f626-4c6e-ba10-d5632b32d240" providerId="ADAL" clId="{826B1C61-D6FB-4569-A737-148BFFB95652}" dt="2023-08-22T13:21:26.396" v="869"/>
        <pc:sldMkLst>
          <pc:docMk/>
          <pc:sldMk cId="1790399634" sldId="2147473137"/>
        </pc:sldMkLst>
      </pc:sldChg>
      <pc:sldChg chg="delSp modSp del mod">
        <pc:chgData name="Ryan Chen" userId="aca00709-f626-4c6e-ba10-d5632b32d240" providerId="ADAL" clId="{826B1C61-D6FB-4569-A737-148BFFB95652}" dt="2023-08-22T13:20:07.213" v="857" actId="2696"/>
        <pc:sldMkLst>
          <pc:docMk/>
          <pc:sldMk cId="736318106" sldId="2147473138"/>
        </pc:sldMkLst>
      </pc:sldChg>
      <pc:sldChg chg="del">
        <pc:chgData name="Ryan Chen" userId="aca00709-f626-4c6e-ba10-d5632b32d240" providerId="ADAL" clId="{826B1C61-D6FB-4569-A737-148BFFB95652}" dt="2023-08-22T13:20:07.213" v="854" actId="2696"/>
        <pc:sldMkLst>
          <pc:docMk/>
          <pc:sldMk cId="492101815" sldId="2147473139"/>
        </pc:sldMkLst>
      </pc:sldChg>
      <pc:sldChg chg="del">
        <pc:chgData name="Ryan Chen" userId="aca00709-f626-4c6e-ba10-d5632b32d240" providerId="ADAL" clId="{826B1C61-D6FB-4569-A737-148BFFB95652}" dt="2023-08-22T13:20:07.202" v="853" actId="2696"/>
        <pc:sldMkLst>
          <pc:docMk/>
          <pc:sldMk cId="2255843358" sldId="2147473140"/>
        </pc:sldMkLst>
      </pc:sldChg>
      <pc:sldChg chg="delSp modSp mod replTag">
        <pc:chgData name="Ryan Chen" userId="aca00709-f626-4c6e-ba10-d5632b32d240" providerId="ADAL" clId="{826B1C61-D6FB-4569-A737-148BFFB95652}" dt="2023-08-22T13:20:07.112" v="812"/>
        <pc:sldMkLst>
          <pc:docMk/>
          <pc:sldMk cId="3202533040" sldId="2147473141"/>
        </pc:sldMkLst>
      </pc:sldChg>
      <pc:sldChg chg="delSp modSp del mod replTag">
        <pc:chgData name="Ryan Chen" userId="aca00709-f626-4c6e-ba10-d5632b32d240" providerId="ADAL" clId="{826B1C61-D6FB-4569-A737-148BFFB95652}" dt="2023-08-22T13:22:26.757" v="876" actId="47"/>
        <pc:sldMkLst>
          <pc:docMk/>
          <pc:sldMk cId="553820143" sldId="2147473142"/>
        </pc:sldMkLst>
      </pc:sldChg>
      <pc:sldChg chg="add ord">
        <pc:chgData name="Ryan Chen" userId="aca00709-f626-4c6e-ba10-d5632b32d240" providerId="ADAL" clId="{826B1C61-D6FB-4569-A737-148BFFB95652}" dt="2023-08-22T13:24:10.711" v="886"/>
        <pc:sldMkLst>
          <pc:docMk/>
          <pc:sldMk cId="451185099" sldId="2147473143"/>
        </pc:sldMkLst>
      </pc:sldChg>
      <pc:sldChg chg="modSp add mod">
        <pc:chgData name="Ryan Chen" userId="aca00709-f626-4c6e-ba10-d5632b32d240" providerId="ADAL" clId="{826B1C61-D6FB-4569-A737-148BFFB95652}" dt="2023-08-22T13:23:42.988" v="884" actId="14100"/>
        <pc:sldMkLst>
          <pc:docMk/>
          <pc:sldMk cId="1375508852" sldId="2147473144"/>
        </pc:sldMkLst>
      </pc:sldChg>
      <pc:sldMasterChg chg="delSldLayout">
        <pc:chgData name="Ryan Chen" userId="aca00709-f626-4c6e-ba10-d5632b32d240" providerId="ADAL" clId="{826B1C61-D6FB-4569-A737-148BFFB95652}" dt="2023-08-22T13:21:18.958" v="867" actId="47"/>
        <pc:sldMasterMkLst>
          <pc:docMk/>
          <pc:sldMasterMk cId="2846167297" sldId="2147483677"/>
        </pc:sldMasterMkLst>
        <pc:sldLayoutChg chg="del">
          <pc:chgData name="Ryan Chen" userId="aca00709-f626-4c6e-ba10-d5632b32d240" providerId="ADAL" clId="{826B1C61-D6FB-4569-A737-148BFFB95652}" dt="2023-08-22T13:21:18.958" v="867" actId="47"/>
          <pc:sldLayoutMkLst>
            <pc:docMk/>
            <pc:sldMasterMk cId="2846167297" sldId="2147483677"/>
            <pc:sldLayoutMk cId="2629899385" sldId="2147483707"/>
          </pc:sldLayoutMkLst>
        </pc:sldLayoutChg>
      </pc:sldMasterChg>
    </pc:docChg>
  </pc:docChgLst>
  <pc:docChgLst>
    <pc:chgData name="Kuo, Davian" userId="f0f04098-50d6-4562-8c6e-1bff3921f330" providerId="ADAL" clId="{326D818D-7DF4-483E-9A22-188CA4E45A97}"/>
    <pc:docChg chg="addSld delSld modSld modSection">
      <pc:chgData name="Kuo, Davian" userId="f0f04098-50d6-4562-8c6e-1bff3921f330" providerId="ADAL" clId="{326D818D-7DF4-483E-9A22-188CA4E45A97}" dt="2024-01-25T02:25:26.088" v="533" actId="47"/>
      <pc:docMkLst>
        <pc:docMk/>
      </pc:docMkLst>
      <pc:sldChg chg="addSp modSp mod">
        <pc:chgData name="Kuo, Davian" userId="f0f04098-50d6-4562-8c6e-1bff3921f330" providerId="ADAL" clId="{326D818D-7DF4-483E-9A22-188CA4E45A97}" dt="2024-01-24T16:03:51.789" v="413" actId="1036"/>
        <pc:sldMkLst>
          <pc:docMk/>
          <pc:sldMk cId="4262673275" sldId="2147473179"/>
        </pc:sldMkLst>
      </pc:sldChg>
      <pc:sldChg chg="del">
        <pc:chgData name="Kuo, Davian" userId="f0f04098-50d6-4562-8c6e-1bff3921f330" providerId="ADAL" clId="{326D818D-7DF4-483E-9A22-188CA4E45A97}" dt="2024-01-24T16:04:10.571" v="416" actId="47"/>
        <pc:sldMkLst>
          <pc:docMk/>
          <pc:sldMk cId="784521718" sldId="2147473183"/>
        </pc:sldMkLst>
      </pc:sldChg>
      <pc:sldChg chg="del">
        <pc:chgData name="Kuo, Davian" userId="f0f04098-50d6-4562-8c6e-1bff3921f330" providerId="ADAL" clId="{326D818D-7DF4-483E-9A22-188CA4E45A97}" dt="2024-01-24T16:04:11.328" v="418" actId="47"/>
        <pc:sldMkLst>
          <pc:docMk/>
          <pc:sldMk cId="4208607327" sldId="2147473184"/>
        </pc:sldMkLst>
      </pc:sldChg>
      <pc:sldChg chg="del">
        <pc:chgData name="Kuo, Davian" userId="f0f04098-50d6-4562-8c6e-1bff3921f330" providerId="ADAL" clId="{326D818D-7DF4-483E-9A22-188CA4E45A97}" dt="2024-01-24T16:04:11.217" v="417" actId="47"/>
        <pc:sldMkLst>
          <pc:docMk/>
          <pc:sldMk cId="3723230771" sldId="2147473185"/>
        </pc:sldMkLst>
      </pc:sldChg>
      <pc:sldChg chg="del">
        <pc:chgData name="Kuo, Davian" userId="f0f04098-50d6-4562-8c6e-1bff3921f330" providerId="ADAL" clId="{326D818D-7DF4-483E-9A22-188CA4E45A97}" dt="2024-01-24T16:04:10.231" v="414" actId="47"/>
        <pc:sldMkLst>
          <pc:docMk/>
          <pc:sldMk cId="4231383643" sldId="2147473186"/>
        </pc:sldMkLst>
      </pc:sldChg>
      <pc:sldChg chg="del">
        <pc:chgData name="Kuo, Davian" userId="f0f04098-50d6-4562-8c6e-1bff3921f330" providerId="ADAL" clId="{326D818D-7DF4-483E-9A22-188CA4E45A97}" dt="2024-01-24T16:04:10.378" v="415" actId="47"/>
        <pc:sldMkLst>
          <pc:docMk/>
          <pc:sldMk cId="3097734039" sldId="2147473187"/>
        </pc:sldMkLst>
      </pc:sldChg>
      <pc:sldChg chg="addSp modSp mod">
        <pc:chgData name="Kuo, Davian" userId="f0f04098-50d6-4562-8c6e-1bff3921f330" providerId="ADAL" clId="{326D818D-7DF4-483E-9A22-188CA4E45A97}" dt="2024-01-24T16:08:44.801" v="525" actId="20577"/>
        <pc:sldMkLst>
          <pc:docMk/>
          <pc:sldMk cId="4218560000" sldId="2147473188"/>
        </pc:sldMkLst>
      </pc:sldChg>
      <pc:sldChg chg="new del">
        <pc:chgData name="Kuo, Davian" userId="f0f04098-50d6-4562-8c6e-1bff3921f330" providerId="ADAL" clId="{326D818D-7DF4-483E-9A22-188CA4E45A97}" dt="2024-01-25T02:25:21.201" v="530" actId="47"/>
        <pc:sldMkLst>
          <pc:docMk/>
          <pc:sldMk cId="1439878305" sldId="2147473189"/>
        </pc:sldMkLst>
      </pc:sldChg>
      <pc:sldChg chg="new del">
        <pc:chgData name="Kuo, Davian" userId="f0f04098-50d6-4562-8c6e-1bff3921f330" providerId="ADAL" clId="{326D818D-7DF4-483E-9A22-188CA4E45A97}" dt="2024-01-25T02:25:21.863" v="531" actId="47"/>
        <pc:sldMkLst>
          <pc:docMk/>
          <pc:sldMk cId="580404633" sldId="2147473190"/>
        </pc:sldMkLst>
      </pc:sldChg>
      <pc:sldChg chg="new del">
        <pc:chgData name="Kuo, Davian" userId="f0f04098-50d6-4562-8c6e-1bff3921f330" providerId="ADAL" clId="{326D818D-7DF4-483E-9A22-188CA4E45A97}" dt="2024-01-25T02:25:25.105" v="532" actId="47"/>
        <pc:sldMkLst>
          <pc:docMk/>
          <pc:sldMk cId="707233602" sldId="2147473191"/>
        </pc:sldMkLst>
      </pc:sldChg>
      <pc:sldChg chg="new del">
        <pc:chgData name="Kuo, Davian" userId="f0f04098-50d6-4562-8c6e-1bff3921f330" providerId="ADAL" clId="{326D818D-7DF4-483E-9A22-188CA4E45A97}" dt="2024-01-25T02:25:26.088" v="533" actId="47"/>
        <pc:sldMkLst>
          <pc:docMk/>
          <pc:sldMk cId="644521162" sldId="2147473192"/>
        </pc:sldMkLst>
      </pc:sldChg>
    </pc:docChg>
  </pc:docChgLst>
  <pc:docChgLst>
    <pc:chgData name="Chung, Steven" userId="2b3d8430-5b47-4ecd-bf64-3ec3dd086abe" providerId="ADAL" clId="{9BCD4D58-BECE-4D95-AB32-93242765AC32}"/>
    <pc:docChg chg="undo custSel modSld">
      <pc:chgData name="Chung, Steven" userId="2b3d8430-5b47-4ecd-bf64-3ec3dd086abe" providerId="ADAL" clId="{9BCD4D58-BECE-4D95-AB32-93242765AC32}" dt="2023-07-14T05:58:59.425" v="315" actId="14734"/>
      <pc:docMkLst>
        <pc:docMk/>
      </pc:docMkLst>
      <pc:sldChg chg="delSp mod">
        <pc:chgData name="Chung, Steven" userId="2b3d8430-5b47-4ecd-bf64-3ec3dd086abe" providerId="ADAL" clId="{9BCD4D58-BECE-4D95-AB32-93242765AC32}" dt="2023-07-14T02:52:12.582" v="63" actId="478"/>
        <pc:sldMkLst>
          <pc:docMk/>
          <pc:sldMk cId="218532950" sldId="2147473083"/>
        </pc:sldMkLst>
      </pc:sldChg>
      <pc:sldChg chg="modSp mod">
        <pc:chgData name="Chung, Steven" userId="2b3d8430-5b47-4ecd-bf64-3ec3dd086abe" providerId="ADAL" clId="{9BCD4D58-BECE-4D95-AB32-93242765AC32}" dt="2023-07-14T05:58:59.425" v="315" actId="14734"/>
        <pc:sldMkLst>
          <pc:docMk/>
          <pc:sldMk cId="606718045" sldId="2147473084"/>
        </pc:sldMkLst>
      </pc:sldChg>
      <pc:sldChg chg="delSp mod">
        <pc:chgData name="Chung, Steven" userId="2b3d8430-5b47-4ecd-bf64-3ec3dd086abe" providerId="ADAL" clId="{9BCD4D58-BECE-4D95-AB32-93242765AC32}" dt="2023-07-14T02:52:17.773" v="65" actId="478"/>
        <pc:sldMkLst>
          <pc:docMk/>
          <pc:sldMk cId="57341808" sldId="2147473087"/>
        </pc:sldMkLst>
      </pc:sldChg>
      <pc:sldChg chg="delSp mod">
        <pc:chgData name="Chung, Steven" userId="2b3d8430-5b47-4ecd-bf64-3ec3dd086abe" providerId="ADAL" clId="{9BCD4D58-BECE-4D95-AB32-93242765AC32}" dt="2023-07-14T02:52:20.649" v="66" actId="478"/>
        <pc:sldMkLst>
          <pc:docMk/>
          <pc:sldMk cId="3309807860" sldId="2147473088"/>
        </pc:sldMkLst>
      </pc:sldChg>
      <pc:sldChg chg="delSp mod">
        <pc:chgData name="Chung, Steven" userId="2b3d8430-5b47-4ecd-bf64-3ec3dd086abe" providerId="ADAL" clId="{9BCD4D58-BECE-4D95-AB32-93242765AC32}" dt="2023-07-14T02:52:15.136" v="64" actId="478"/>
        <pc:sldMkLst>
          <pc:docMk/>
          <pc:sldMk cId="3327270563" sldId="2147473093"/>
        </pc:sldMkLst>
      </pc:sldChg>
      <pc:sldChg chg="addSp modSp">
        <pc:chgData name="Chung, Steven" userId="2b3d8430-5b47-4ecd-bf64-3ec3dd086abe" providerId="ADAL" clId="{9BCD4D58-BECE-4D95-AB32-93242765AC32}" dt="2023-07-14T02:52:08.935" v="62"/>
        <pc:sldMkLst>
          <pc:docMk/>
          <pc:sldMk cId="2749065764" sldId="2147473095"/>
        </pc:sldMkLst>
      </pc:sldChg>
      <pc:sldChg chg="addSp delSp modSp mod">
        <pc:chgData name="Chung, Steven" userId="2b3d8430-5b47-4ecd-bf64-3ec3dd086abe" providerId="ADAL" clId="{9BCD4D58-BECE-4D95-AB32-93242765AC32}" dt="2023-07-14T03:15:08.957" v="314" actId="113"/>
        <pc:sldMkLst>
          <pc:docMk/>
          <pc:sldMk cId="2345318693" sldId="2147473101"/>
        </pc:sldMkLst>
      </pc:sldChg>
    </pc:docChg>
  </pc:docChgLst>
  <pc:docChgLst>
    <pc:chgData name="Kuo, Davian" userId="f0f04098-50d6-4562-8c6e-1bff3921f330" providerId="ADAL" clId="{F3625B86-36A2-4903-8AE9-896339983F5D}"/>
    <pc:docChg chg="undo custSel addSld delSld modSld sldOrd modSection">
      <pc:chgData name="Kuo, Davian" userId="f0f04098-50d6-4562-8c6e-1bff3921f330" providerId="ADAL" clId="{F3625B86-36A2-4903-8AE9-896339983F5D}" dt="2024-02-21T03:07:29.247" v="4690" actId="108"/>
      <pc:docMkLst>
        <pc:docMk/>
      </pc:docMkLst>
      <pc:sldChg chg="del">
        <pc:chgData name="Kuo, Davian" userId="f0f04098-50d6-4562-8c6e-1bff3921f330" providerId="ADAL" clId="{F3625B86-36A2-4903-8AE9-896339983F5D}" dt="2024-02-20T09:44:20.753" v="589" actId="47"/>
        <pc:sldMkLst>
          <pc:docMk/>
          <pc:sldMk cId="3680244955" sldId="2147473187"/>
        </pc:sldMkLst>
      </pc:sldChg>
      <pc:sldChg chg="modSp mod">
        <pc:chgData name="Kuo, Davian" userId="f0f04098-50d6-4562-8c6e-1bff3921f330" providerId="ADAL" clId="{F3625B86-36A2-4903-8AE9-896339983F5D}" dt="2024-02-21T00:17:18.587" v="4595" actId="20577"/>
        <pc:sldMkLst>
          <pc:docMk/>
          <pc:sldMk cId="1251943622" sldId="2147473188"/>
        </pc:sldMkLst>
      </pc:sldChg>
      <pc:sldChg chg="del">
        <pc:chgData name="Kuo, Davian" userId="f0f04098-50d6-4562-8c6e-1bff3921f330" providerId="ADAL" clId="{F3625B86-36A2-4903-8AE9-896339983F5D}" dt="2024-02-20T09:44:21.342" v="590" actId="47"/>
        <pc:sldMkLst>
          <pc:docMk/>
          <pc:sldMk cId="428255641" sldId="2147473191"/>
        </pc:sldMkLst>
      </pc:sldChg>
      <pc:sldChg chg="addSp delSp modSp new mod ord">
        <pc:chgData name="Kuo, Davian" userId="f0f04098-50d6-4562-8c6e-1bff3921f330" providerId="ADAL" clId="{F3625B86-36A2-4903-8AE9-896339983F5D}" dt="2024-02-20T16:19:33.593" v="4092" actId="20577"/>
        <pc:sldMkLst>
          <pc:docMk/>
          <pc:sldMk cId="1228475918" sldId="2147473192"/>
        </pc:sldMkLst>
      </pc:sldChg>
      <pc:sldChg chg="addSp delSp modSp new mod">
        <pc:chgData name="Kuo, Davian" userId="f0f04098-50d6-4562-8c6e-1bff3921f330" providerId="ADAL" clId="{F3625B86-36A2-4903-8AE9-896339983F5D}" dt="2024-02-20T16:42:03.727" v="4557" actId="1036"/>
        <pc:sldMkLst>
          <pc:docMk/>
          <pc:sldMk cId="2986069778" sldId="2147473193"/>
        </pc:sldMkLst>
      </pc:sldChg>
      <pc:sldChg chg="addSp delSp modSp add mod ord addAnim delAnim modAnim">
        <pc:chgData name="Kuo, Davian" userId="f0f04098-50d6-4562-8c6e-1bff3921f330" providerId="ADAL" clId="{F3625B86-36A2-4903-8AE9-896339983F5D}" dt="2024-02-21T03:07:29.247" v="4690" actId="108"/>
        <pc:sldMkLst>
          <pc:docMk/>
          <pc:sldMk cId="785948304" sldId="2147473194"/>
        </pc:sldMkLst>
      </pc:sldChg>
      <pc:sldChg chg="addSp delSp modSp new mod ord">
        <pc:chgData name="Kuo, Davian" userId="f0f04098-50d6-4562-8c6e-1bff3921f330" providerId="ADAL" clId="{F3625B86-36A2-4903-8AE9-896339983F5D}" dt="2024-02-21T03:05:14.357" v="4629" actId="13926"/>
        <pc:sldMkLst>
          <pc:docMk/>
          <pc:sldMk cId="3744296811" sldId="2147473195"/>
        </pc:sldMkLst>
      </pc:sldChg>
      <pc:sldChg chg="addSp modSp add mod ord">
        <pc:chgData name="Kuo, Davian" userId="f0f04098-50d6-4562-8c6e-1bff3921f330" providerId="ADAL" clId="{F3625B86-36A2-4903-8AE9-896339983F5D}" dt="2024-02-21T03:05:47.733" v="4652" actId="13926"/>
        <pc:sldMkLst>
          <pc:docMk/>
          <pc:sldMk cId="3391740253" sldId="2147473196"/>
        </pc:sldMkLst>
      </pc:sldChg>
    </pc:docChg>
  </pc:docChgLst>
  <pc:docChgLst>
    <pc:chgData name="Kuo, Davian" userId="f0f04098-50d6-4562-8c6e-1bff3921f330" providerId="ADAL" clId="{2DC52A4D-2769-49CD-BE1A-E15E02E6A37A}"/>
    <pc:docChg chg="undo custSel addSld delSld modSld sldOrd modSection">
      <pc:chgData name="Kuo, Davian" userId="f0f04098-50d6-4562-8c6e-1bff3921f330" providerId="ADAL" clId="{2DC52A4D-2769-49CD-BE1A-E15E02E6A37A}" dt="2024-01-24T00:46:51.228" v="2763" actId="20577"/>
      <pc:docMkLst>
        <pc:docMk/>
      </pc:docMkLst>
      <pc:sldChg chg="del">
        <pc:chgData name="Kuo, Davian" userId="f0f04098-50d6-4562-8c6e-1bff3921f330" providerId="ADAL" clId="{2DC52A4D-2769-49CD-BE1A-E15E02E6A37A}" dt="2024-01-23T11:59:25.704" v="5" actId="47"/>
        <pc:sldMkLst>
          <pc:docMk/>
          <pc:sldMk cId="774861012" sldId="2147473169"/>
        </pc:sldMkLst>
      </pc:sldChg>
      <pc:sldChg chg="del">
        <pc:chgData name="Kuo, Davian" userId="f0f04098-50d6-4562-8c6e-1bff3921f330" providerId="ADAL" clId="{2DC52A4D-2769-49CD-BE1A-E15E02E6A37A}" dt="2024-01-23T11:59:20.397" v="0" actId="47"/>
        <pc:sldMkLst>
          <pc:docMk/>
          <pc:sldMk cId="2526051811" sldId="2147473176"/>
        </pc:sldMkLst>
      </pc:sldChg>
      <pc:sldChg chg="del">
        <pc:chgData name="Kuo, Davian" userId="f0f04098-50d6-4562-8c6e-1bff3921f330" providerId="ADAL" clId="{2DC52A4D-2769-49CD-BE1A-E15E02E6A37A}" dt="2024-01-23T11:59:24.489" v="1" actId="47"/>
        <pc:sldMkLst>
          <pc:docMk/>
          <pc:sldMk cId="2264927827" sldId="2147473177"/>
        </pc:sldMkLst>
      </pc:sldChg>
      <pc:sldChg chg="addSp delSp modSp mod ord">
        <pc:chgData name="Kuo, Davian" userId="f0f04098-50d6-4562-8c6e-1bff3921f330" providerId="ADAL" clId="{2DC52A4D-2769-49CD-BE1A-E15E02E6A37A}" dt="2024-01-23T12:41:06.897" v="1292" actId="20577"/>
        <pc:sldMkLst>
          <pc:docMk/>
          <pc:sldMk cId="4262673275" sldId="2147473179"/>
        </pc:sldMkLst>
      </pc:sldChg>
      <pc:sldChg chg="del">
        <pc:chgData name="Kuo, Davian" userId="f0f04098-50d6-4562-8c6e-1bff3921f330" providerId="ADAL" clId="{2DC52A4D-2769-49CD-BE1A-E15E02E6A37A}" dt="2024-01-23T11:59:24.798" v="3" actId="47"/>
        <pc:sldMkLst>
          <pc:docMk/>
          <pc:sldMk cId="1576463374" sldId="2147473180"/>
        </pc:sldMkLst>
      </pc:sldChg>
      <pc:sldChg chg="del">
        <pc:chgData name="Kuo, Davian" userId="f0f04098-50d6-4562-8c6e-1bff3921f330" providerId="ADAL" clId="{2DC52A4D-2769-49CD-BE1A-E15E02E6A37A}" dt="2024-01-23T11:59:24.906" v="4" actId="47"/>
        <pc:sldMkLst>
          <pc:docMk/>
          <pc:sldMk cId="3195138254" sldId="2147473181"/>
        </pc:sldMkLst>
      </pc:sldChg>
      <pc:sldChg chg="addSp modSp add mod">
        <pc:chgData name="Kuo, Davian" userId="f0f04098-50d6-4562-8c6e-1bff3921f330" providerId="ADAL" clId="{2DC52A4D-2769-49CD-BE1A-E15E02E6A37A}" dt="2024-01-23T22:48:40.750" v="1373" actId="1035"/>
        <pc:sldMkLst>
          <pc:docMk/>
          <pc:sldMk cId="4026882544" sldId="2147473181"/>
        </pc:sldMkLst>
      </pc:sldChg>
      <pc:sldChg chg="addSp delSp modSp new mod">
        <pc:chgData name="Kuo, Davian" userId="f0f04098-50d6-4562-8c6e-1bff3921f330" providerId="ADAL" clId="{2DC52A4D-2769-49CD-BE1A-E15E02E6A37A}" dt="2024-01-23T12:41:16.627" v="1305" actId="20577"/>
        <pc:sldMkLst>
          <pc:docMk/>
          <pc:sldMk cId="210143074" sldId="2147473182"/>
        </pc:sldMkLst>
      </pc:sldChg>
      <pc:sldChg chg="del">
        <pc:chgData name="Kuo, Davian" userId="f0f04098-50d6-4562-8c6e-1bff3921f330" providerId="ADAL" clId="{2DC52A4D-2769-49CD-BE1A-E15E02E6A37A}" dt="2024-01-23T11:59:24.642" v="2" actId="47"/>
        <pc:sldMkLst>
          <pc:docMk/>
          <pc:sldMk cId="2743304168" sldId="2147473182"/>
        </pc:sldMkLst>
      </pc:sldChg>
      <pc:sldChg chg="addSp modSp new mod">
        <pc:chgData name="Kuo, Davian" userId="f0f04098-50d6-4562-8c6e-1bff3921f330" providerId="ADAL" clId="{2DC52A4D-2769-49CD-BE1A-E15E02E6A37A}" dt="2024-01-24T00:46:46.998" v="2759" actId="20577"/>
        <pc:sldMkLst>
          <pc:docMk/>
          <pc:sldMk cId="784521718" sldId="2147473183"/>
        </pc:sldMkLst>
      </pc:sldChg>
      <pc:sldChg chg="addSp modSp new mod">
        <pc:chgData name="Kuo, Davian" userId="f0f04098-50d6-4562-8c6e-1bff3921f330" providerId="ADAL" clId="{2DC52A4D-2769-49CD-BE1A-E15E02E6A37A}" dt="2024-01-24T00:08:40.541" v="2540" actId="20577"/>
        <pc:sldMkLst>
          <pc:docMk/>
          <pc:sldMk cId="4208607327" sldId="2147473184"/>
        </pc:sldMkLst>
      </pc:sldChg>
      <pc:sldChg chg="addSp delSp modSp new mod">
        <pc:chgData name="Kuo, Davian" userId="f0f04098-50d6-4562-8c6e-1bff3921f330" providerId="ADAL" clId="{2DC52A4D-2769-49CD-BE1A-E15E02E6A37A}" dt="2024-01-24T00:46:51.228" v="2763" actId="20577"/>
        <pc:sldMkLst>
          <pc:docMk/>
          <pc:sldMk cId="3723230771" sldId="2147473185"/>
        </pc:sldMkLst>
      </pc:sldChg>
      <pc:sldChg chg="addSp delSp modSp new mod">
        <pc:chgData name="Kuo, Davian" userId="f0f04098-50d6-4562-8c6e-1bff3921f330" providerId="ADAL" clId="{2DC52A4D-2769-49CD-BE1A-E15E02E6A37A}" dt="2024-01-24T00:19:54.368" v="2744" actId="1035"/>
        <pc:sldMkLst>
          <pc:docMk/>
          <pc:sldMk cId="4231383643" sldId="2147473186"/>
        </pc:sldMkLst>
      </pc:sldChg>
      <pc:sldChg chg="addSp modSp new mod">
        <pc:chgData name="Kuo, Davian" userId="f0f04098-50d6-4562-8c6e-1bff3921f330" providerId="ADAL" clId="{2DC52A4D-2769-49CD-BE1A-E15E02E6A37A}" dt="2024-01-24T00:18:11.844" v="2736" actId="20577"/>
        <pc:sldMkLst>
          <pc:docMk/>
          <pc:sldMk cId="3097734039" sldId="2147473187"/>
        </pc:sldMkLst>
      </pc:sldChg>
      <pc:sldChg chg="new">
        <pc:chgData name="Kuo, Davian" userId="f0f04098-50d6-4562-8c6e-1bff3921f330" providerId="ADAL" clId="{2DC52A4D-2769-49CD-BE1A-E15E02E6A37A}" dt="2024-01-24T00:18:16.109" v="2737" actId="680"/>
        <pc:sldMkLst>
          <pc:docMk/>
          <pc:sldMk cId="4218560000" sldId="2147473188"/>
        </pc:sldMkLst>
      </pc:sldChg>
      <pc:sldChg chg="addSp new del mod">
        <pc:chgData name="Kuo, Davian" userId="f0f04098-50d6-4562-8c6e-1bff3921f330" providerId="ADAL" clId="{2DC52A4D-2769-49CD-BE1A-E15E02E6A37A}" dt="2024-01-24T00:36:56.113" v="2755" actId="47"/>
        <pc:sldMkLst>
          <pc:docMk/>
          <pc:sldMk cId="3847689356" sldId="2147473189"/>
        </pc:sldMkLst>
      </pc:sldChg>
    </pc:docChg>
  </pc:docChgLst>
  <pc:docChgLst>
    <pc:chgData name="Steven Chung" userId="2b3d8430-5b47-4ecd-bf64-3ec3dd086abe" providerId="ADAL" clId="{17EC061C-77A5-4233-A307-691F1F3B6322}"/>
    <pc:docChg chg="undo redo custSel addSld delSld modSld modSection">
      <pc:chgData name="Steven Chung" userId="2b3d8430-5b47-4ecd-bf64-3ec3dd086abe" providerId="ADAL" clId="{17EC061C-77A5-4233-A307-691F1F3B6322}" dt="2023-08-17T10:05:08.151" v="2055" actId="208"/>
      <pc:docMkLst>
        <pc:docMk/>
      </pc:docMkLst>
      <pc:sldChg chg="addSp delSp modSp mod">
        <pc:chgData name="Steven Chung" userId="2b3d8430-5b47-4ecd-bf64-3ec3dd086abe" providerId="ADAL" clId="{17EC061C-77A5-4233-A307-691F1F3B6322}" dt="2023-08-17T10:01:05.674" v="2052" actId="1076"/>
        <pc:sldMkLst>
          <pc:docMk/>
          <pc:sldMk cId="1806998817" sldId="2147473120"/>
        </pc:sldMkLst>
      </pc:sldChg>
      <pc:sldChg chg="addSp delSp modSp add mod">
        <pc:chgData name="Steven Chung" userId="2b3d8430-5b47-4ecd-bf64-3ec3dd086abe" providerId="ADAL" clId="{17EC061C-77A5-4233-A307-691F1F3B6322}" dt="2023-08-17T06:56:17.528" v="1180" actId="20577"/>
        <pc:sldMkLst>
          <pc:docMk/>
          <pc:sldMk cId="3335660132" sldId="2147473133"/>
        </pc:sldMkLst>
      </pc:sldChg>
      <pc:sldChg chg="add del">
        <pc:chgData name="Steven Chung" userId="2b3d8430-5b47-4ecd-bf64-3ec3dd086abe" providerId="ADAL" clId="{17EC061C-77A5-4233-A307-691F1F3B6322}" dt="2023-08-16T09:52:20.834" v="284"/>
        <pc:sldMkLst>
          <pc:docMk/>
          <pc:sldMk cId="2205326598" sldId="2147473134"/>
        </pc:sldMkLst>
      </pc:sldChg>
      <pc:sldChg chg="add del">
        <pc:chgData name="Steven Chung" userId="2b3d8430-5b47-4ecd-bf64-3ec3dd086abe" providerId="ADAL" clId="{17EC061C-77A5-4233-A307-691F1F3B6322}" dt="2023-08-16T10:24:41.848" v="304" actId="47"/>
        <pc:sldMkLst>
          <pc:docMk/>
          <pc:sldMk cId="3093525888" sldId="2147473134"/>
        </pc:sldMkLst>
      </pc:sldChg>
      <pc:sldChg chg="addSp delSp modSp add mod">
        <pc:chgData name="Steven Chung" userId="2b3d8430-5b47-4ecd-bf64-3ec3dd086abe" providerId="ADAL" clId="{17EC061C-77A5-4233-A307-691F1F3B6322}" dt="2023-08-17T10:05:08.151" v="2055" actId="208"/>
        <pc:sldMkLst>
          <pc:docMk/>
          <pc:sldMk cId="2914927422" sldId="2147473135"/>
        </pc:sldMkLst>
      </pc:sldChg>
      <pc:sldChg chg="addSp delSp modSp new add del mod modClrScheme chgLayout">
        <pc:chgData name="Steven Chung" userId="2b3d8430-5b47-4ecd-bf64-3ec3dd086abe" providerId="ADAL" clId="{17EC061C-77A5-4233-A307-691F1F3B6322}" dt="2023-08-17T06:45:23.706" v="999" actId="47"/>
        <pc:sldMkLst>
          <pc:docMk/>
          <pc:sldMk cId="1075194641" sldId="2147473136"/>
        </pc:sldMkLst>
      </pc:sldChg>
      <pc:sldChg chg="addSp delSp modSp new mod modClrScheme chgLayout">
        <pc:chgData name="Steven Chung" userId="2b3d8430-5b47-4ecd-bf64-3ec3dd086abe" providerId="ADAL" clId="{17EC061C-77A5-4233-A307-691F1F3B6322}" dt="2023-08-17T09:00:53.345" v="1908" actId="1076"/>
        <pc:sldMkLst>
          <pc:docMk/>
          <pc:sldMk cId="4276102211" sldId="2147473136"/>
        </pc:sldMkLst>
      </pc:sldChg>
      <pc:sldChg chg="addSp delSp modSp add del mod">
        <pc:chgData name="Steven Chung" userId="2b3d8430-5b47-4ecd-bf64-3ec3dd086abe" providerId="ADAL" clId="{17EC061C-77A5-4233-A307-691F1F3B6322}" dt="2023-08-17T06:46:30.292" v="1002" actId="47"/>
        <pc:sldMkLst>
          <pc:docMk/>
          <pc:sldMk cId="99889588" sldId="2147473137"/>
        </pc:sldMkLst>
      </pc:sldChg>
    </pc:docChg>
  </pc:docChgLst>
  <pc:docChgLst>
    <pc:chgData name="Davian Kuo" userId="f0f04098-50d6-4562-8c6e-1bff3921f330" providerId="ADAL" clId="{3F4C293D-F993-4CF0-A92F-C27A9739AF69}"/>
    <pc:docChg chg="undo custSel addSld delSld modSld modSection">
      <pc:chgData name="Davian Kuo" userId="f0f04098-50d6-4562-8c6e-1bff3921f330" providerId="ADAL" clId="{3F4C293D-F993-4CF0-A92F-C27A9739AF69}" dt="2024-01-15T23:14:53.792" v="4047" actId="20577"/>
      <pc:docMkLst>
        <pc:docMk/>
      </pc:docMkLst>
      <pc:sldChg chg="modSp mod">
        <pc:chgData name="Davian Kuo" userId="f0f04098-50d6-4562-8c6e-1bff3921f330" providerId="ADAL" clId="{3F4C293D-F993-4CF0-A92F-C27A9739AF69}" dt="2024-01-15T11:57:50.123" v="3283" actId="20577"/>
        <pc:sldMkLst>
          <pc:docMk/>
          <pc:sldMk cId="1153746984" sldId="274"/>
        </pc:sldMkLst>
      </pc:sldChg>
      <pc:sldChg chg="modSp add mod">
        <pc:chgData name="Davian Kuo" userId="f0f04098-50d6-4562-8c6e-1bff3921f330" providerId="ADAL" clId="{3F4C293D-F993-4CF0-A92F-C27A9739AF69}" dt="2024-01-15T12:51:48.641" v="3973" actId="20577"/>
        <pc:sldMkLst>
          <pc:docMk/>
          <pc:sldMk cId="774861012" sldId="2147473169"/>
        </pc:sldMkLst>
      </pc:sldChg>
      <pc:sldChg chg="del">
        <pc:chgData name="Davian Kuo" userId="f0f04098-50d6-4562-8c6e-1bff3921f330" providerId="ADAL" clId="{3F4C293D-F993-4CF0-A92F-C27A9739AF69}" dt="2024-01-15T09:23:15.678" v="1822" actId="47"/>
        <pc:sldMkLst>
          <pc:docMk/>
          <pc:sldMk cId="3929235487" sldId="2147473175"/>
        </pc:sldMkLst>
      </pc:sldChg>
      <pc:sldChg chg="addSp delSp modSp new mod">
        <pc:chgData name="Davian Kuo" userId="f0f04098-50d6-4562-8c6e-1bff3921f330" providerId="ADAL" clId="{3F4C293D-F993-4CF0-A92F-C27A9739AF69}" dt="2024-01-15T12:05:32.829" v="3406" actId="20577"/>
        <pc:sldMkLst>
          <pc:docMk/>
          <pc:sldMk cId="2526051811" sldId="2147473176"/>
        </pc:sldMkLst>
      </pc:sldChg>
      <pc:sldChg chg="addSp modSp new mod">
        <pc:chgData name="Davian Kuo" userId="f0f04098-50d6-4562-8c6e-1bff3921f330" providerId="ADAL" clId="{3F4C293D-F993-4CF0-A92F-C27A9739AF69}" dt="2024-01-15T23:14:48.582" v="4043" actId="20577"/>
        <pc:sldMkLst>
          <pc:docMk/>
          <pc:sldMk cId="2264927827" sldId="2147473177"/>
        </pc:sldMkLst>
      </pc:sldChg>
      <pc:sldChg chg="modSp new del mod">
        <pc:chgData name="Davian Kuo" userId="f0f04098-50d6-4562-8c6e-1bff3921f330" providerId="ADAL" clId="{3F4C293D-F993-4CF0-A92F-C27A9739AF69}" dt="2024-01-15T09:34:20.236" v="2228" actId="47"/>
        <pc:sldMkLst>
          <pc:docMk/>
          <pc:sldMk cId="4057870396" sldId="2147473178"/>
        </pc:sldMkLst>
      </pc:sldChg>
      <pc:sldChg chg="addSp modSp new mod">
        <pc:chgData name="Davian Kuo" userId="f0f04098-50d6-4562-8c6e-1bff3921f330" providerId="ADAL" clId="{3F4C293D-F993-4CF0-A92F-C27A9739AF69}" dt="2024-01-15T12:06:39.222" v="3445" actId="20577"/>
        <pc:sldMkLst>
          <pc:docMk/>
          <pc:sldMk cId="4262673275" sldId="2147473179"/>
        </pc:sldMkLst>
      </pc:sldChg>
      <pc:sldChg chg="modSp add mod">
        <pc:chgData name="Davian Kuo" userId="f0f04098-50d6-4562-8c6e-1bff3921f330" providerId="ADAL" clId="{3F4C293D-F993-4CF0-A92F-C27A9739AF69}" dt="2024-01-15T09:46:07.645" v="2391" actId="207"/>
        <pc:sldMkLst>
          <pc:docMk/>
          <pc:sldMk cId="1576463374" sldId="2147473180"/>
        </pc:sldMkLst>
      </pc:sldChg>
      <pc:sldChg chg="addSp delSp modSp add mod">
        <pc:chgData name="Davian Kuo" userId="f0f04098-50d6-4562-8c6e-1bff3921f330" providerId="ADAL" clId="{3F4C293D-F993-4CF0-A92F-C27A9739AF69}" dt="2024-01-15T10:32:51.886" v="3247" actId="22"/>
        <pc:sldMkLst>
          <pc:docMk/>
          <pc:sldMk cId="3195138254" sldId="2147473181"/>
        </pc:sldMkLst>
      </pc:sldChg>
      <pc:sldChg chg="modSp add del mod">
        <pc:chgData name="Davian Kuo" userId="f0f04098-50d6-4562-8c6e-1bff3921f330" providerId="ADAL" clId="{3F4C293D-F993-4CF0-A92F-C27A9739AF69}" dt="2024-01-15T09:55:19.840" v="2476" actId="47"/>
        <pc:sldMkLst>
          <pc:docMk/>
          <pc:sldMk cId="225639747" sldId="2147473182"/>
        </pc:sldMkLst>
      </pc:sldChg>
      <pc:sldChg chg="addSp modSp new mod">
        <pc:chgData name="Davian Kuo" userId="f0f04098-50d6-4562-8c6e-1bff3921f330" providerId="ADAL" clId="{3F4C293D-F993-4CF0-A92F-C27A9739AF69}" dt="2024-01-15T23:14:53.792" v="4047" actId="20577"/>
        <pc:sldMkLst>
          <pc:docMk/>
          <pc:sldMk cId="2743304168" sldId="2147473182"/>
        </pc:sldMkLst>
      </pc:sldChg>
    </pc:docChg>
  </pc:docChgLst>
  <pc:docChgLst>
    <pc:chgData name="Chou, Ricky" userId="5a600072-2550-46c4-a60e-7fd5c990f13b" providerId="ADAL" clId="{2CC3A526-BEE7-48B2-AC6D-4E4A2AB67438}"/>
    <pc:docChg chg="addSld modSld">
      <pc:chgData name="Chou, Ricky" userId="5a600072-2550-46c4-a60e-7fd5c990f13b" providerId="ADAL" clId="{2CC3A526-BEE7-48B2-AC6D-4E4A2AB67438}" dt="2023-08-10T08:16:13.933" v="2" actId="20577"/>
      <pc:docMkLst>
        <pc:docMk/>
      </pc:docMkLst>
      <pc:sldChg chg="modSp add mod">
        <pc:chgData name="Chou, Ricky" userId="5a600072-2550-46c4-a60e-7fd5c990f13b" providerId="ADAL" clId="{2CC3A526-BEE7-48B2-AC6D-4E4A2AB67438}" dt="2023-08-10T08:16:13.933" v="2" actId="20577"/>
        <pc:sldMkLst>
          <pc:docMk/>
          <pc:sldMk cId="3222976798" sldId="2147473125"/>
        </pc:sldMkLst>
      </pc:sldChg>
    </pc:docChg>
  </pc:docChgLst>
  <pc:docChgLst>
    <pc:chgData name="Kuo, Davian" userId="f0f04098-50d6-4562-8c6e-1bff3921f330" providerId="ADAL" clId="{C5DD96B2-B321-469F-A75F-943B371AA3DA}"/>
    <pc:docChg chg="undo custSel delSld modSld modSection">
      <pc:chgData name="Kuo, Davian" userId="f0f04098-50d6-4562-8c6e-1bff3921f330" providerId="ADAL" clId="{C5DD96B2-B321-469F-A75F-943B371AA3DA}" dt="2024-11-03T14:55:24.751" v="1176" actId="20577"/>
      <pc:docMkLst>
        <pc:docMk/>
      </pc:docMkLst>
      <pc:sldChg chg="modSp mod">
        <pc:chgData name="Kuo, Davian" userId="f0f04098-50d6-4562-8c6e-1bff3921f330" providerId="ADAL" clId="{C5DD96B2-B321-469F-A75F-943B371AA3DA}" dt="2024-11-03T14:55:24.751" v="1176" actId="20577"/>
        <pc:sldMkLst>
          <pc:docMk/>
          <pc:sldMk cId="1153746984" sldId="274"/>
        </pc:sldMkLst>
      </pc:sldChg>
      <pc:sldChg chg="addSp delSp modSp mod">
        <pc:chgData name="Kuo, Davian" userId="f0f04098-50d6-4562-8c6e-1bff3921f330" providerId="ADAL" clId="{C5DD96B2-B321-469F-A75F-943B371AA3DA}" dt="2024-11-03T14:54:17.825" v="1172" actId="1076"/>
        <pc:sldMkLst>
          <pc:docMk/>
          <pc:sldMk cId="599810960" sldId="2147473194"/>
        </pc:sldMkLst>
      </pc:sldChg>
      <pc:sldChg chg="del">
        <pc:chgData name="Kuo, Davian" userId="f0f04098-50d6-4562-8c6e-1bff3921f330" providerId="ADAL" clId="{C5DD96B2-B321-469F-A75F-943B371AA3DA}" dt="2024-11-03T13:54:56.035" v="0" actId="47"/>
        <pc:sldMkLst>
          <pc:docMk/>
          <pc:sldMk cId="3124114205" sldId="2147473195"/>
        </pc:sldMkLst>
      </pc:sldChg>
    </pc:docChg>
  </pc:docChgLst>
  <pc:docChgLst>
    <pc:chgData name="Davian Kuo" userId="f0f04098-50d6-4562-8c6e-1bff3921f330" providerId="ADAL" clId="{59B044C1-45EB-4D9D-8461-9933D716B197}"/>
    <pc:docChg chg="undo custSel addSld delSld modSld modSection">
      <pc:chgData name="Davian Kuo" userId="f0f04098-50d6-4562-8c6e-1bff3921f330" providerId="ADAL" clId="{59B044C1-45EB-4D9D-8461-9933D716B197}" dt="2024-02-06T00:24:15.932" v="1719" actId="115"/>
      <pc:docMkLst>
        <pc:docMk/>
      </pc:docMkLst>
      <pc:sldChg chg="del">
        <pc:chgData name="Davian Kuo" userId="f0f04098-50d6-4562-8c6e-1bff3921f330" providerId="ADAL" clId="{59B044C1-45EB-4D9D-8461-9933D716B197}" dt="2024-02-05T09:48:39.799" v="694" actId="47"/>
        <pc:sldMkLst>
          <pc:docMk/>
          <pc:sldMk cId="4262673275" sldId="2147473179"/>
        </pc:sldMkLst>
      </pc:sldChg>
      <pc:sldChg chg="del">
        <pc:chgData name="Davian Kuo" userId="f0f04098-50d6-4562-8c6e-1bff3921f330" providerId="ADAL" clId="{59B044C1-45EB-4D9D-8461-9933D716B197}" dt="2024-02-05T09:48:39.306" v="693" actId="47"/>
        <pc:sldMkLst>
          <pc:docMk/>
          <pc:sldMk cId="4026882544" sldId="2147473181"/>
        </pc:sldMkLst>
      </pc:sldChg>
      <pc:sldChg chg="del">
        <pc:chgData name="Davian Kuo" userId="f0f04098-50d6-4562-8c6e-1bff3921f330" providerId="ADAL" clId="{59B044C1-45EB-4D9D-8461-9933D716B197}" dt="2024-02-05T09:48:40.319" v="695" actId="47"/>
        <pc:sldMkLst>
          <pc:docMk/>
          <pc:sldMk cId="2804237678" sldId="2147473184"/>
        </pc:sldMkLst>
      </pc:sldChg>
      <pc:sldChg chg="del">
        <pc:chgData name="Davian Kuo" userId="f0f04098-50d6-4562-8c6e-1bff3921f330" providerId="ADAL" clId="{59B044C1-45EB-4D9D-8461-9933D716B197}" dt="2024-02-05T09:48:41.253" v="697" actId="47"/>
        <pc:sldMkLst>
          <pc:docMk/>
          <pc:sldMk cId="3601408172" sldId="2147473185"/>
        </pc:sldMkLst>
      </pc:sldChg>
      <pc:sldChg chg="del">
        <pc:chgData name="Davian Kuo" userId="f0f04098-50d6-4562-8c6e-1bff3921f330" providerId="ADAL" clId="{59B044C1-45EB-4D9D-8461-9933D716B197}" dt="2024-02-05T09:48:40.760" v="696" actId="47"/>
        <pc:sldMkLst>
          <pc:docMk/>
          <pc:sldMk cId="3240816802" sldId="2147473186"/>
        </pc:sldMkLst>
      </pc:sldChg>
      <pc:sldChg chg="new del">
        <pc:chgData name="Davian Kuo" userId="f0f04098-50d6-4562-8c6e-1bff3921f330" providerId="ADAL" clId="{59B044C1-45EB-4D9D-8461-9933D716B197}" dt="2024-02-05T09:48:42.003" v="698" actId="47"/>
        <pc:sldMkLst>
          <pc:docMk/>
          <pc:sldMk cId="200218657" sldId="2147473187"/>
        </pc:sldMkLst>
      </pc:sldChg>
      <pc:sldChg chg="addSp modSp new mod">
        <pc:chgData name="Davian Kuo" userId="f0f04098-50d6-4562-8c6e-1bff3921f330" providerId="ADAL" clId="{59B044C1-45EB-4D9D-8461-9933D716B197}" dt="2024-02-06T00:24:15.932" v="1719" actId="115"/>
        <pc:sldMkLst>
          <pc:docMk/>
          <pc:sldMk cId="1251943622" sldId="2147473188"/>
        </pc:sldMkLst>
      </pc:sldChg>
    </pc:docChg>
  </pc:docChgLst>
  <pc:docChgLst>
    <pc:chgData name="Kuo, Davian" userId="f0f04098-50d6-4562-8c6e-1bff3921f330" providerId="ADAL" clId="{822ADE03-8E0B-499B-9C99-12319FECF0A6}"/>
    <pc:docChg chg="undo redo custSel addSld delSld modSld sldOrd modSection">
      <pc:chgData name="Kuo, Davian" userId="f0f04098-50d6-4562-8c6e-1bff3921f330" providerId="ADAL" clId="{822ADE03-8E0B-499B-9C99-12319FECF0A6}" dt="2023-11-03T01:57:16.128" v="4131" actId="1038"/>
      <pc:docMkLst>
        <pc:docMk/>
      </pc:docMkLst>
      <pc:sldChg chg="modSp mod">
        <pc:chgData name="Kuo, Davian" userId="f0f04098-50d6-4562-8c6e-1bff3921f330" providerId="ADAL" clId="{822ADE03-8E0B-499B-9C99-12319FECF0A6}" dt="2023-11-02T11:24:23.956" v="1581" actId="20577"/>
        <pc:sldMkLst>
          <pc:docMk/>
          <pc:sldMk cId="1153746984" sldId="274"/>
        </pc:sldMkLst>
      </pc:sldChg>
      <pc:sldChg chg="del">
        <pc:chgData name="Kuo, Davian" userId="f0f04098-50d6-4562-8c6e-1bff3921f330" providerId="ADAL" clId="{822ADE03-8E0B-499B-9C99-12319FECF0A6}" dt="2023-11-02T11:24:14.290" v="1578" actId="47"/>
        <pc:sldMkLst>
          <pc:docMk/>
          <pc:sldMk cId="3557367230" sldId="281"/>
        </pc:sldMkLst>
      </pc:sldChg>
      <pc:sldChg chg="add del">
        <pc:chgData name="Kuo, Davian" userId="f0f04098-50d6-4562-8c6e-1bff3921f330" providerId="ADAL" clId="{822ADE03-8E0B-499B-9C99-12319FECF0A6}" dt="2023-11-02T11:24:11.230" v="1572" actId="47"/>
        <pc:sldMkLst>
          <pc:docMk/>
          <pc:sldMk cId="2711323462" sldId="282"/>
        </pc:sldMkLst>
      </pc:sldChg>
      <pc:sldChg chg="del">
        <pc:chgData name="Kuo, Davian" userId="f0f04098-50d6-4562-8c6e-1bff3921f330" providerId="ADAL" clId="{822ADE03-8E0B-499B-9C99-12319FECF0A6}" dt="2023-11-02T11:24:00.526" v="1559" actId="47"/>
        <pc:sldMkLst>
          <pc:docMk/>
          <pc:sldMk cId="1807022871" sldId="284"/>
        </pc:sldMkLst>
      </pc:sldChg>
      <pc:sldChg chg="add del">
        <pc:chgData name="Kuo, Davian" userId="f0f04098-50d6-4562-8c6e-1bff3921f330" providerId="ADAL" clId="{822ADE03-8E0B-499B-9C99-12319FECF0A6}" dt="2023-11-02T11:24:13.552" v="1574" actId="47"/>
        <pc:sldMkLst>
          <pc:docMk/>
          <pc:sldMk cId="4021877105" sldId="621"/>
        </pc:sldMkLst>
      </pc:sldChg>
      <pc:sldChg chg="del">
        <pc:chgData name="Kuo, Davian" userId="f0f04098-50d6-4562-8c6e-1bff3921f330" providerId="ADAL" clId="{822ADE03-8E0B-499B-9C99-12319FECF0A6}" dt="2023-11-02T01:54:55.784" v="4" actId="47"/>
        <pc:sldMkLst>
          <pc:docMk/>
          <pc:sldMk cId="3912291754" sldId="622"/>
        </pc:sldMkLst>
      </pc:sldChg>
      <pc:sldChg chg="del">
        <pc:chgData name="Kuo, Davian" userId="f0f04098-50d6-4562-8c6e-1bff3921f330" providerId="ADAL" clId="{822ADE03-8E0B-499B-9C99-12319FECF0A6}" dt="2023-11-02T01:54:56.978" v="6" actId="47"/>
        <pc:sldMkLst>
          <pc:docMk/>
          <pc:sldMk cId="1559774585" sldId="624"/>
        </pc:sldMkLst>
      </pc:sldChg>
      <pc:sldChg chg="del">
        <pc:chgData name="Kuo, Davian" userId="f0f04098-50d6-4562-8c6e-1bff3921f330" providerId="ADAL" clId="{822ADE03-8E0B-499B-9C99-12319FECF0A6}" dt="2023-11-02T01:54:57.515" v="7" actId="47"/>
        <pc:sldMkLst>
          <pc:docMk/>
          <pc:sldMk cId="820508962" sldId="625"/>
        </pc:sldMkLst>
      </pc:sldChg>
      <pc:sldChg chg="del">
        <pc:chgData name="Kuo, Davian" userId="f0f04098-50d6-4562-8c6e-1bff3921f330" providerId="ADAL" clId="{822ADE03-8E0B-499B-9C99-12319FECF0A6}" dt="2023-11-02T01:54:56.357" v="5" actId="47"/>
        <pc:sldMkLst>
          <pc:docMk/>
          <pc:sldMk cId="3659451267" sldId="626"/>
        </pc:sldMkLst>
      </pc:sldChg>
      <pc:sldChg chg="add del">
        <pc:chgData name="Kuo, Davian" userId="f0f04098-50d6-4562-8c6e-1bff3921f330" providerId="ADAL" clId="{822ADE03-8E0B-499B-9C99-12319FECF0A6}" dt="2023-11-02T11:24:13.833" v="1576" actId="47"/>
        <pc:sldMkLst>
          <pc:docMk/>
          <pc:sldMk cId="419311894" sldId="627"/>
        </pc:sldMkLst>
      </pc:sldChg>
      <pc:sldChg chg="add del">
        <pc:chgData name="Kuo, Davian" userId="f0f04098-50d6-4562-8c6e-1bff3921f330" providerId="ADAL" clId="{822ADE03-8E0B-499B-9C99-12319FECF0A6}" dt="2023-11-02T11:24:13.697" v="1575" actId="47"/>
        <pc:sldMkLst>
          <pc:docMk/>
          <pc:sldMk cId="2462747648" sldId="632"/>
        </pc:sldMkLst>
      </pc:sldChg>
      <pc:sldChg chg="del">
        <pc:chgData name="Kuo, Davian" userId="f0f04098-50d6-4562-8c6e-1bff3921f330" providerId="ADAL" clId="{822ADE03-8E0B-499B-9C99-12319FECF0A6}" dt="2023-11-02T01:54:35.409" v="0" actId="47"/>
        <pc:sldMkLst>
          <pc:docMk/>
          <pc:sldMk cId="487370219" sldId="2147472916"/>
        </pc:sldMkLst>
      </pc:sldChg>
      <pc:sldChg chg="del">
        <pc:chgData name="Kuo, Davian" userId="f0f04098-50d6-4562-8c6e-1bff3921f330" providerId="ADAL" clId="{822ADE03-8E0B-499B-9C99-12319FECF0A6}" dt="2023-11-02T01:54:53.724" v="3" actId="47"/>
        <pc:sldMkLst>
          <pc:docMk/>
          <pc:sldMk cId="1464975751" sldId="2147472917"/>
        </pc:sldMkLst>
      </pc:sldChg>
      <pc:sldChg chg="del">
        <pc:chgData name="Kuo, Davian" userId="f0f04098-50d6-4562-8c6e-1bff3921f330" providerId="ADAL" clId="{822ADE03-8E0B-499B-9C99-12319FECF0A6}" dt="2023-11-02T01:54:36.031" v="1" actId="47"/>
        <pc:sldMkLst>
          <pc:docMk/>
          <pc:sldMk cId="2026543933" sldId="2147472966"/>
        </pc:sldMkLst>
      </pc:sldChg>
      <pc:sldChg chg="del">
        <pc:chgData name="Kuo, Davian" userId="f0f04098-50d6-4562-8c6e-1bff3921f330" providerId="ADAL" clId="{822ADE03-8E0B-499B-9C99-12319FECF0A6}" dt="2023-11-02T01:54:58.231" v="8" actId="47"/>
        <pc:sldMkLst>
          <pc:docMk/>
          <pc:sldMk cId="574881004" sldId="2147472999"/>
        </pc:sldMkLst>
      </pc:sldChg>
      <pc:sldChg chg="del">
        <pc:chgData name="Kuo, Davian" userId="f0f04098-50d6-4562-8c6e-1bff3921f330" providerId="ADAL" clId="{822ADE03-8E0B-499B-9C99-12319FECF0A6}" dt="2023-11-02T01:54:52.825" v="2" actId="47"/>
        <pc:sldMkLst>
          <pc:docMk/>
          <pc:sldMk cId="606718045" sldId="2147473084"/>
        </pc:sldMkLst>
      </pc:sldChg>
      <pc:sldChg chg="add del">
        <pc:chgData name="Kuo, Davian" userId="f0f04098-50d6-4562-8c6e-1bff3921f330" providerId="ADAL" clId="{822ADE03-8E0B-499B-9C99-12319FECF0A6}" dt="2023-11-02T11:24:13.425" v="1573" actId="47"/>
        <pc:sldMkLst>
          <pc:docMk/>
          <pc:sldMk cId="2178920054" sldId="2147473099"/>
        </pc:sldMkLst>
      </pc:sldChg>
      <pc:sldChg chg="del">
        <pc:chgData name="Kuo, Davian" userId="f0f04098-50d6-4562-8c6e-1bff3921f330" providerId="ADAL" clId="{822ADE03-8E0B-499B-9C99-12319FECF0A6}" dt="2023-11-02T11:24:13.974" v="1577" actId="47"/>
        <pc:sldMkLst>
          <pc:docMk/>
          <pc:sldMk cId="2741573247" sldId="2147473119"/>
        </pc:sldMkLst>
      </pc:sldChg>
      <pc:sldChg chg="del">
        <pc:chgData name="Kuo, Davian" userId="f0f04098-50d6-4562-8c6e-1bff3921f330" providerId="ADAL" clId="{822ADE03-8E0B-499B-9C99-12319FECF0A6}" dt="2023-11-02T11:24:15.695" v="1580" actId="47"/>
        <pc:sldMkLst>
          <pc:docMk/>
          <pc:sldMk cId="535462312" sldId="2147473125"/>
        </pc:sldMkLst>
      </pc:sldChg>
      <pc:sldChg chg="del">
        <pc:chgData name="Kuo, Davian" userId="f0f04098-50d6-4562-8c6e-1bff3921f330" providerId="ADAL" clId="{822ADE03-8E0B-499B-9C99-12319FECF0A6}" dt="2023-11-02T11:24:14.861" v="1579" actId="47"/>
        <pc:sldMkLst>
          <pc:docMk/>
          <pc:sldMk cId="3202533040" sldId="2147473141"/>
        </pc:sldMkLst>
      </pc:sldChg>
      <pc:sldChg chg="addSp delSp modSp new add del mod">
        <pc:chgData name="Kuo, Davian" userId="f0f04098-50d6-4562-8c6e-1bff3921f330" providerId="ADAL" clId="{822ADE03-8E0B-499B-9C99-12319FECF0A6}" dt="2023-11-03T01:27:43.520" v="3884" actId="20577"/>
        <pc:sldMkLst>
          <pc:docMk/>
          <pc:sldMk cId="2166949524" sldId="2147473142"/>
        </pc:sldMkLst>
      </pc:sldChg>
      <pc:sldChg chg="addSp modSp new mod ord">
        <pc:chgData name="Kuo, Davian" userId="f0f04098-50d6-4562-8c6e-1bff3921f330" providerId="ADAL" clId="{822ADE03-8E0B-499B-9C99-12319FECF0A6}" dt="2023-11-03T01:42:47.501" v="3928" actId="20577"/>
        <pc:sldMkLst>
          <pc:docMk/>
          <pc:sldMk cId="114259287" sldId="2147473143"/>
        </pc:sldMkLst>
      </pc:sldChg>
      <pc:sldChg chg="addSp delSp modSp add mod">
        <pc:chgData name="Kuo, Davian" userId="f0f04098-50d6-4562-8c6e-1bff3921f330" providerId="ADAL" clId="{822ADE03-8E0B-499B-9C99-12319FECF0A6}" dt="2023-11-03T01:57:16.128" v="4131" actId="1038"/>
        <pc:sldMkLst>
          <pc:docMk/>
          <pc:sldMk cId="690002716" sldId="2147473144"/>
        </pc:sldMkLst>
      </pc:sldChg>
      <pc:sldMasterChg chg="addSldLayout delSldLayout">
        <pc:chgData name="Kuo, Davian" userId="f0f04098-50d6-4562-8c6e-1bff3921f330" providerId="ADAL" clId="{822ADE03-8E0B-499B-9C99-12319FECF0A6}" dt="2023-11-02T11:24:13.833" v="1576" actId="47"/>
        <pc:sldMasterMkLst>
          <pc:docMk/>
          <pc:sldMasterMk cId="2846167297" sldId="2147483677"/>
        </pc:sldMasterMkLst>
        <pc:sldLayoutChg chg="add del">
          <pc:chgData name="Kuo, Davian" userId="f0f04098-50d6-4562-8c6e-1bff3921f330" providerId="ADAL" clId="{822ADE03-8E0B-499B-9C99-12319FECF0A6}" dt="2023-11-02T11:24:13.833" v="1576" actId="47"/>
          <pc:sldLayoutMkLst>
            <pc:docMk/>
            <pc:sldMasterMk cId="2846167297" sldId="2147483677"/>
            <pc:sldLayoutMk cId="3553755795" sldId="2147483707"/>
          </pc:sldLayoutMkLst>
        </pc:sldLayoutChg>
      </pc:sldMasterChg>
    </pc:docChg>
  </pc:docChgLst>
  <pc:docChgLst>
    <pc:chgData name="Chen, Ryan" userId="aca00709-f626-4c6e-ba10-d5632b32d240" providerId="ADAL" clId="{826B1C61-D6FB-4569-A737-148BFFB95652}"/>
    <pc:docChg chg="custSel delSld modSld modSection">
      <pc:chgData name="Chen, Ryan" userId="aca00709-f626-4c6e-ba10-d5632b32d240" providerId="ADAL" clId="{826B1C61-D6FB-4569-A737-148BFFB95652}" dt="2023-08-24T11:51:30.365" v="21" actId="207"/>
      <pc:docMkLst>
        <pc:docMk/>
      </pc:docMkLst>
      <pc:sldChg chg="addSp modSp mod">
        <pc:chgData name="Chen, Ryan" userId="aca00709-f626-4c6e-ba10-d5632b32d240" providerId="ADAL" clId="{826B1C61-D6FB-4569-A737-148BFFB95652}" dt="2023-08-24T11:50:06.471" v="17" actId="1076"/>
        <pc:sldMkLst>
          <pc:docMk/>
          <pc:sldMk cId="1807022871" sldId="284"/>
        </pc:sldMkLst>
      </pc:sldChg>
      <pc:sldChg chg="addSp modSp">
        <pc:chgData name="Chen, Ryan" userId="aca00709-f626-4c6e-ba10-d5632b32d240" providerId="ADAL" clId="{826B1C61-D6FB-4569-A737-148BFFB95652}" dt="2023-08-24T11:50:10.354" v="18"/>
        <pc:sldMkLst>
          <pc:docMk/>
          <pc:sldMk cId="4021877105" sldId="621"/>
        </pc:sldMkLst>
      </pc:sldChg>
      <pc:sldChg chg="addSp modSp mod">
        <pc:chgData name="Chen, Ryan" userId="aca00709-f626-4c6e-ba10-d5632b32d240" providerId="ADAL" clId="{826B1C61-D6FB-4569-A737-148BFFB95652}" dt="2023-08-24T11:49:50.389" v="13" actId="1076"/>
        <pc:sldMkLst>
          <pc:docMk/>
          <pc:sldMk cId="3912291754" sldId="622"/>
        </pc:sldMkLst>
      </pc:sldChg>
      <pc:sldChg chg="addSp modSp">
        <pc:chgData name="Chen, Ryan" userId="aca00709-f626-4c6e-ba10-d5632b32d240" providerId="ADAL" clId="{826B1C61-D6FB-4569-A737-148BFFB95652}" dt="2023-08-24T11:49:53.934" v="14"/>
        <pc:sldMkLst>
          <pc:docMk/>
          <pc:sldMk cId="1559774585" sldId="624"/>
        </pc:sldMkLst>
      </pc:sldChg>
      <pc:sldChg chg="addSp modSp">
        <pc:chgData name="Chen, Ryan" userId="aca00709-f626-4c6e-ba10-d5632b32d240" providerId="ADAL" clId="{826B1C61-D6FB-4569-A737-148BFFB95652}" dt="2023-08-24T11:49:59.179" v="15"/>
        <pc:sldMkLst>
          <pc:docMk/>
          <pc:sldMk cId="820508962" sldId="625"/>
        </pc:sldMkLst>
      </pc:sldChg>
      <pc:sldChg chg="addSp modSp mod">
        <pc:chgData name="Chen, Ryan" userId="aca00709-f626-4c6e-ba10-d5632b32d240" providerId="ADAL" clId="{826B1C61-D6FB-4569-A737-148BFFB95652}" dt="2023-08-24T11:49:41.426" v="12" actId="1076"/>
        <pc:sldMkLst>
          <pc:docMk/>
          <pc:sldMk cId="3659451267" sldId="626"/>
        </pc:sldMkLst>
      </pc:sldChg>
      <pc:sldChg chg="addSp modSp">
        <pc:chgData name="Chen, Ryan" userId="aca00709-f626-4c6e-ba10-d5632b32d240" providerId="ADAL" clId="{826B1C61-D6FB-4569-A737-148BFFB95652}" dt="2023-08-24T11:50:17.375" v="20"/>
        <pc:sldMkLst>
          <pc:docMk/>
          <pc:sldMk cId="419311894" sldId="627"/>
        </pc:sldMkLst>
      </pc:sldChg>
      <pc:sldChg chg="addSp modSp">
        <pc:chgData name="Chen, Ryan" userId="aca00709-f626-4c6e-ba10-d5632b32d240" providerId="ADAL" clId="{826B1C61-D6FB-4569-A737-148BFFB95652}" dt="2023-08-24T11:50:13.968" v="19"/>
        <pc:sldMkLst>
          <pc:docMk/>
          <pc:sldMk cId="2462747648" sldId="632"/>
        </pc:sldMkLst>
      </pc:sldChg>
      <pc:sldChg chg="modSp mod">
        <pc:chgData name="Chen, Ryan" userId="aca00709-f626-4c6e-ba10-d5632b32d240" providerId="ADAL" clId="{826B1C61-D6FB-4569-A737-148BFFB95652}" dt="2023-08-24T11:51:30.365" v="21" actId="207"/>
        <pc:sldMkLst>
          <pc:docMk/>
          <pc:sldMk cId="606718045" sldId="2147473084"/>
        </pc:sldMkLst>
      </pc:sldChg>
      <pc:sldChg chg="del">
        <pc:chgData name="Chen, Ryan" userId="aca00709-f626-4c6e-ba10-d5632b32d240" providerId="ADAL" clId="{826B1C61-D6FB-4569-A737-148BFFB95652}" dt="2023-08-24T09:02:25.058" v="5" actId="47"/>
        <pc:sldMkLst>
          <pc:docMk/>
          <pc:sldMk cId="451185099" sldId="2147473143"/>
        </pc:sldMkLst>
      </pc:sldChg>
    </pc:docChg>
  </pc:docChgLst>
  <pc:docChgLst>
    <pc:chgData name="Chou, Ricky" userId="S::ricky.chou@zeiss.com::5a600072-2550-46c4-a60e-7fd5c990f13b" providerId="AD" clId="Web-{2FFD9DE4-D560-0D7F-B8D1-A87091BBCD4B}"/>
    <pc:docChg chg="delSld sldOrd modSection">
      <pc:chgData name="Chou, Ricky" userId="S::ricky.chou@zeiss.com::5a600072-2550-46c4-a60e-7fd5c990f13b" providerId="AD" clId="Web-{2FFD9DE4-D560-0D7F-B8D1-A87091BBCD4B}" dt="2023-08-17T10:24:27.923" v="2"/>
      <pc:docMkLst>
        <pc:docMk/>
      </pc:docMkLst>
      <pc:sldChg chg="ord">
        <pc:chgData name="Chou, Ricky" userId="S::ricky.chou@zeiss.com::5a600072-2550-46c4-a60e-7fd5c990f13b" providerId="AD" clId="Web-{2FFD9DE4-D560-0D7F-B8D1-A87091BBCD4B}" dt="2023-08-17T10:23:06.670" v="0"/>
        <pc:sldMkLst>
          <pc:docMk/>
          <pc:sldMk cId="461710636" sldId="623"/>
        </pc:sldMkLst>
      </pc:sldChg>
      <pc:sldChg chg="ord">
        <pc:chgData name="Chou, Ricky" userId="S::ricky.chou@zeiss.com::5a600072-2550-46c4-a60e-7fd5c990f13b" providerId="AD" clId="Web-{2FFD9DE4-D560-0D7F-B8D1-A87091BBCD4B}" dt="2023-08-17T10:23:06.670" v="1"/>
        <pc:sldMkLst>
          <pc:docMk/>
          <pc:sldMk cId="411799343" sldId="624"/>
        </pc:sldMkLst>
      </pc:sldChg>
      <pc:sldChg chg="del">
        <pc:chgData name="Chou, Ricky" userId="S::ricky.chou@zeiss.com::5a600072-2550-46c4-a60e-7fd5c990f13b" providerId="AD" clId="Web-{2FFD9DE4-D560-0D7F-B8D1-A87091BBCD4B}" dt="2023-08-17T10:24:27.923" v="2"/>
        <pc:sldMkLst>
          <pc:docMk/>
          <pc:sldMk cId="1886465168" sldId="2147473124"/>
        </pc:sldMkLst>
      </pc:sldChg>
    </pc:docChg>
  </pc:docChgLst>
  <pc:docChgLst>
    <pc:chgData name="Davian Kuo" userId="f0f04098-50d6-4562-8c6e-1bff3921f330" providerId="ADAL" clId="{B43E0425-A7D3-4457-B341-DEF9AAFD0428}"/>
    <pc:docChg chg="undo custSel addSld delSld modSld modSection">
      <pc:chgData name="Davian Kuo" userId="f0f04098-50d6-4562-8c6e-1bff3921f330" providerId="ADAL" clId="{B43E0425-A7D3-4457-B341-DEF9AAFD0428}" dt="2024-02-06T23:33:42.585" v="1636" actId="1036"/>
      <pc:docMkLst>
        <pc:docMk/>
      </pc:docMkLst>
      <pc:sldChg chg="modSp add mod">
        <pc:chgData name="Davian Kuo" userId="f0f04098-50d6-4562-8c6e-1bff3921f330" providerId="ADAL" clId="{B43E0425-A7D3-4457-B341-DEF9AAFD0428}" dt="2024-02-06T14:29:09.592" v="281" actId="404"/>
        <pc:sldMkLst>
          <pc:docMk/>
          <pc:sldMk cId="3680244955" sldId="2147473187"/>
        </pc:sldMkLst>
      </pc:sldChg>
      <pc:sldChg chg="modSp mod">
        <pc:chgData name="Davian Kuo" userId="f0f04098-50d6-4562-8c6e-1bff3921f330" providerId="ADAL" clId="{B43E0425-A7D3-4457-B341-DEF9AAFD0428}" dt="2024-02-06T15:58:45.614" v="1551" actId="20577"/>
        <pc:sldMkLst>
          <pc:docMk/>
          <pc:sldMk cId="1251943622" sldId="2147473188"/>
        </pc:sldMkLst>
      </pc:sldChg>
      <pc:sldChg chg="new del">
        <pc:chgData name="Davian Kuo" userId="f0f04098-50d6-4562-8c6e-1bff3921f330" providerId="ADAL" clId="{B43E0425-A7D3-4457-B341-DEF9AAFD0428}" dt="2024-02-06T14:01:04.430" v="2" actId="47"/>
        <pc:sldMkLst>
          <pc:docMk/>
          <pc:sldMk cId="2889218057" sldId="2147473189"/>
        </pc:sldMkLst>
      </pc:sldChg>
      <pc:sldChg chg="addSp delSp modSp add mod delAnim modAnim">
        <pc:chgData name="Davian Kuo" userId="f0f04098-50d6-4562-8c6e-1bff3921f330" providerId="ADAL" clId="{B43E0425-A7D3-4457-B341-DEF9AAFD0428}" dt="2024-02-06T23:33:42.585" v="1636" actId="1036"/>
        <pc:sldMkLst>
          <pc:docMk/>
          <pc:sldMk cId="428255641" sldId="2147473191"/>
        </pc:sldMkLst>
      </pc:sldChg>
    </pc:docChg>
  </pc:docChgLst>
  <pc:docChgLst>
    <pc:chgData name="Ryan Chen" userId="aca00709-f626-4c6e-ba10-d5632b32d240" providerId="ADAL" clId="{9C13533B-6287-42CB-A65D-BB8DEA7EE2E9}"/>
    <pc:docChg chg="custSel modSld">
      <pc:chgData name="Ryan Chen" userId="aca00709-f626-4c6e-ba10-d5632b32d240" providerId="ADAL" clId="{9C13533B-6287-42CB-A65D-BB8DEA7EE2E9}" dt="2023-07-21T03:50:01.823" v="51" actId="207"/>
      <pc:docMkLst>
        <pc:docMk/>
      </pc:docMkLst>
      <pc:sldChg chg="modSp mod">
        <pc:chgData name="Ryan Chen" userId="aca00709-f626-4c6e-ba10-d5632b32d240" providerId="ADAL" clId="{9C13533B-6287-42CB-A65D-BB8DEA7EE2E9}" dt="2023-07-21T03:49:35.836" v="50" actId="20577"/>
        <pc:sldMkLst>
          <pc:docMk/>
          <pc:sldMk cId="606718045" sldId="2147473084"/>
        </pc:sldMkLst>
      </pc:sldChg>
      <pc:sldChg chg="modSp mod">
        <pc:chgData name="Ryan Chen" userId="aca00709-f626-4c6e-ba10-d5632b32d240" providerId="ADAL" clId="{9C13533B-6287-42CB-A65D-BB8DEA7EE2E9}" dt="2023-07-21T03:50:01.823" v="51" actId="207"/>
        <pc:sldMkLst>
          <pc:docMk/>
          <pc:sldMk cId="1719427300" sldId="2147473085"/>
        </pc:sldMkLst>
      </pc:sldChg>
    </pc:docChg>
  </pc:docChgLst>
  <pc:docChgLst>
    <pc:chgData name="Ryan" userId="aca00709-f626-4c6e-ba10-d5632b32d240" providerId="ADAL" clId="{7E3BD3FD-C980-42B0-B2C7-F33ABC89C4D4}"/>
    <pc:docChg chg="undo custSel addSld modSld sldOrd">
      <pc:chgData name="Ryan" userId="aca00709-f626-4c6e-ba10-d5632b32d240" providerId="ADAL" clId="{7E3BD3FD-C980-42B0-B2C7-F33ABC89C4D4}" dt="2023-08-04T04:06:55.844" v="752" actId="20577"/>
      <pc:docMkLst>
        <pc:docMk/>
      </pc:docMkLst>
      <pc:sldChg chg="addSp modSp ord">
        <pc:chgData name="Ryan" userId="aca00709-f626-4c6e-ba10-d5632b32d240" providerId="ADAL" clId="{7E3BD3FD-C980-42B0-B2C7-F33ABC89C4D4}" dt="2023-08-04T03:29:25.728" v="194"/>
        <pc:sldMkLst>
          <pc:docMk/>
          <pc:sldMk cId="461710636" sldId="623"/>
        </pc:sldMkLst>
      </pc:sldChg>
      <pc:sldChg chg="addSp modSp ord">
        <pc:chgData name="Ryan" userId="aca00709-f626-4c6e-ba10-d5632b32d240" providerId="ADAL" clId="{7E3BD3FD-C980-42B0-B2C7-F33ABC89C4D4}" dt="2023-08-04T03:29:28.545" v="195"/>
        <pc:sldMkLst>
          <pc:docMk/>
          <pc:sldMk cId="3334272121" sldId="624"/>
        </pc:sldMkLst>
      </pc:sldChg>
      <pc:sldChg chg="addSp modSp ord">
        <pc:chgData name="Ryan" userId="aca00709-f626-4c6e-ba10-d5632b32d240" providerId="ADAL" clId="{7E3BD3FD-C980-42B0-B2C7-F33ABC89C4D4}" dt="2023-08-04T03:29:16.469" v="190"/>
        <pc:sldMkLst>
          <pc:docMk/>
          <pc:sldMk cId="3457152266" sldId="625"/>
        </pc:sldMkLst>
      </pc:sldChg>
      <pc:sldChg chg="addSp modSp ord">
        <pc:chgData name="Ryan" userId="aca00709-f626-4c6e-ba10-d5632b32d240" providerId="ADAL" clId="{7E3BD3FD-C980-42B0-B2C7-F33ABC89C4D4}" dt="2023-08-04T03:29:20.996" v="192"/>
        <pc:sldMkLst>
          <pc:docMk/>
          <pc:sldMk cId="2662852432" sldId="626"/>
        </pc:sldMkLst>
      </pc:sldChg>
      <pc:sldChg chg="addSp modSp ord">
        <pc:chgData name="Ryan" userId="aca00709-f626-4c6e-ba10-d5632b32d240" providerId="ADAL" clId="{7E3BD3FD-C980-42B0-B2C7-F33ABC89C4D4}" dt="2023-08-04T03:29:18.834" v="191"/>
        <pc:sldMkLst>
          <pc:docMk/>
          <pc:sldMk cId="1322177041" sldId="627"/>
        </pc:sldMkLst>
      </pc:sldChg>
      <pc:sldChg chg="addSp modSp ord">
        <pc:chgData name="Ryan" userId="aca00709-f626-4c6e-ba10-d5632b32d240" providerId="ADAL" clId="{7E3BD3FD-C980-42B0-B2C7-F33ABC89C4D4}" dt="2023-08-04T03:29:23.182" v="193"/>
        <pc:sldMkLst>
          <pc:docMk/>
          <pc:sldMk cId="1808990223" sldId="628"/>
        </pc:sldMkLst>
      </pc:sldChg>
      <pc:sldChg chg="modSp mod">
        <pc:chgData name="Ryan" userId="aca00709-f626-4c6e-ba10-d5632b32d240" providerId="ADAL" clId="{7E3BD3FD-C980-42B0-B2C7-F33ABC89C4D4}" dt="2023-08-04T03:44:12.288" v="298" actId="14100"/>
        <pc:sldMkLst>
          <pc:docMk/>
          <pc:sldMk cId="606718045" sldId="2147473084"/>
        </pc:sldMkLst>
      </pc:sldChg>
      <pc:sldChg chg="modSp mod">
        <pc:chgData name="Ryan" userId="aca00709-f626-4c6e-ba10-d5632b32d240" providerId="ADAL" clId="{7E3BD3FD-C980-42B0-B2C7-F33ABC89C4D4}" dt="2023-08-04T03:49:38.349" v="457" actId="1076"/>
        <pc:sldMkLst>
          <pc:docMk/>
          <pc:sldMk cId="1806998817" sldId="2147473120"/>
        </pc:sldMkLst>
      </pc:sldChg>
      <pc:sldChg chg="delSp modSp add mod modShow">
        <pc:chgData name="Ryan" userId="aca00709-f626-4c6e-ba10-d5632b32d240" providerId="ADAL" clId="{7E3BD3FD-C980-42B0-B2C7-F33ABC89C4D4}" dt="2023-08-04T04:06:55.844" v="752" actId="20577"/>
        <pc:sldMkLst>
          <pc:docMk/>
          <pc:sldMk cId="1886465168" sldId="2147473124"/>
        </pc:sldMkLst>
      </pc:sldChg>
    </pc:docChg>
  </pc:docChgLst>
  <pc:docChgLst>
    <pc:chgData name="Chen, Ryan" userId="aca00709-f626-4c6e-ba10-d5632b32d240" providerId="ADAL" clId="{9C13533B-6287-42CB-A65D-BB8DEA7EE2E9}"/>
    <pc:docChg chg="custSel delSld modSld sldOrd modSection replTag">
      <pc:chgData name="Chen, Ryan" userId="aca00709-f626-4c6e-ba10-d5632b32d240" providerId="ADAL" clId="{9C13533B-6287-42CB-A65D-BB8DEA7EE2E9}" dt="2023-07-20T14:03:36.686" v="764" actId="47"/>
      <pc:docMkLst>
        <pc:docMk/>
      </pc:docMkLst>
      <pc:sldChg chg="del">
        <pc:chgData name="Chen, Ryan" userId="aca00709-f626-4c6e-ba10-d5632b32d240" providerId="ADAL" clId="{9C13533B-6287-42CB-A65D-BB8DEA7EE2E9}" dt="2023-07-20T14:03:35.611" v="763" actId="47"/>
        <pc:sldMkLst>
          <pc:docMk/>
          <pc:sldMk cId="3912291754" sldId="622"/>
        </pc:sldMkLst>
      </pc:sldChg>
      <pc:sldChg chg="del">
        <pc:chgData name="Chen, Ryan" userId="aca00709-f626-4c6e-ba10-d5632b32d240" providerId="ADAL" clId="{9C13533B-6287-42CB-A65D-BB8DEA7EE2E9}" dt="2023-07-20T14:03:36.686" v="764" actId="47"/>
        <pc:sldMkLst>
          <pc:docMk/>
          <pc:sldMk cId="3674693808" sldId="623"/>
        </pc:sldMkLst>
      </pc:sldChg>
      <pc:sldChg chg="addSp delSp modSp mod">
        <pc:chgData name="Chen, Ryan" userId="aca00709-f626-4c6e-ba10-d5632b32d240" providerId="ADAL" clId="{9C13533B-6287-42CB-A65D-BB8DEA7EE2E9}" dt="2023-07-20T13:59:40.341" v="491"/>
        <pc:sldMkLst>
          <pc:docMk/>
          <pc:sldMk cId="487370219" sldId="2147472916"/>
        </pc:sldMkLst>
      </pc:sldChg>
      <pc:sldChg chg="addSp delSp modSp mod">
        <pc:chgData name="Chen, Ryan" userId="aca00709-f626-4c6e-ba10-d5632b32d240" providerId="ADAL" clId="{9C13533B-6287-42CB-A65D-BB8DEA7EE2E9}" dt="2023-07-20T13:59:40.950" v="581"/>
        <pc:sldMkLst>
          <pc:docMk/>
          <pc:sldMk cId="1464975751" sldId="2147472917"/>
        </pc:sldMkLst>
      </pc:sldChg>
      <pc:sldChg chg="addSp delSp modSp mod">
        <pc:chgData name="Chen, Ryan" userId="aca00709-f626-4c6e-ba10-d5632b32d240" providerId="ADAL" clId="{9C13533B-6287-42CB-A65D-BB8DEA7EE2E9}" dt="2023-07-20T13:59:40.665" v="536"/>
        <pc:sldMkLst>
          <pc:docMk/>
          <pc:sldMk cId="2026543933" sldId="2147472966"/>
        </pc:sldMkLst>
      </pc:sldChg>
      <pc:sldChg chg="addSp delSp modSp mod">
        <pc:chgData name="Chen, Ryan" userId="aca00709-f626-4c6e-ba10-d5632b32d240" providerId="ADAL" clId="{9C13533B-6287-42CB-A65D-BB8DEA7EE2E9}" dt="2023-07-20T13:59:41.235" v="626"/>
        <pc:sldMkLst>
          <pc:docMk/>
          <pc:sldMk cId="574881004" sldId="2147472999"/>
        </pc:sldMkLst>
      </pc:sldChg>
      <pc:sldChg chg="addSp delSp modSp mod ord">
        <pc:chgData name="Chen, Ryan" userId="aca00709-f626-4c6e-ba10-d5632b32d240" providerId="ADAL" clId="{9C13533B-6287-42CB-A65D-BB8DEA7EE2E9}" dt="2023-07-20T14:00:27.387" v="762"/>
        <pc:sldMkLst>
          <pc:docMk/>
          <pc:sldMk cId="3023511849" sldId="2147473052"/>
        </pc:sldMkLst>
      </pc:sldChg>
      <pc:sldChg chg="modSp mod">
        <pc:chgData name="Chen, Ryan" userId="aca00709-f626-4c6e-ba10-d5632b32d240" providerId="ADAL" clId="{9C13533B-6287-42CB-A65D-BB8DEA7EE2E9}" dt="2023-07-20T13:56:18.089" v="134" actId="207"/>
        <pc:sldMkLst>
          <pc:docMk/>
          <pc:sldMk cId="606718045" sldId="2147473084"/>
        </pc:sldMkLst>
      </pc:sldChg>
      <pc:sldChg chg="addSp delSp modSp mod">
        <pc:chgData name="Chen, Ryan" userId="aca00709-f626-4c6e-ba10-d5632b32d240" providerId="ADAL" clId="{9C13533B-6287-42CB-A65D-BB8DEA7EE2E9}" dt="2023-07-20T13:59:41.504" v="671"/>
        <pc:sldMkLst>
          <pc:docMk/>
          <pc:sldMk cId="2178920054" sldId="2147473099"/>
        </pc:sldMkLst>
      </pc:sldChg>
      <pc:sldChg chg="ord">
        <pc:chgData name="Chen, Ryan" userId="aca00709-f626-4c6e-ba10-d5632b32d240" providerId="ADAL" clId="{9C13533B-6287-42CB-A65D-BB8DEA7EE2E9}" dt="2023-07-20T14:00:27.387" v="762"/>
        <pc:sldMkLst>
          <pc:docMk/>
          <pc:sldMk cId="209650220" sldId="2147473100"/>
        </pc:sldMkLst>
      </pc:sldChg>
      <pc:sldChg chg="addSp delSp modSp mod">
        <pc:chgData name="Chen, Ryan" userId="aca00709-f626-4c6e-ba10-d5632b32d240" providerId="ADAL" clId="{9C13533B-6287-42CB-A65D-BB8DEA7EE2E9}" dt="2023-07-20T13:59:41.808" v="714"/>
        <pc:sldMkLst>
          <pc:docMk/>
          <pc:sldMk cId="4158958966" sldId="2147473105"/>
        </pc:sldMkLst>
      </pc:sldChg>
      <pc:sldChg chg="delSp modSp del mod">
        <pc:chgData name="Chen, Ryan" userId="aca00709-f626-4c6e-ba10-d5632b32d240" providerId="ADAL" clId="{9C13533B-6287-42CB-A65D-BB8DEA7EE2E9}" dt="2023-07-20T13:59:42.036" v="759" actId="2696"/>
        <pc:sldMkLst>
          <pc:docMk/>
          <pc:sldMk cId="3571011973" sldId="2147473106"/>
        </pc:sldMkLst>
      </pc:sldChg>
      <pc:sldChg chg="del">
        <pc:chgData name="Chen, Ryan" userId="aca00709-f626-4c6e-ba10-d5632b32d240" providerId="ADAL" clId="{9C13533B-6287-42CB-A65D-BB8DEA7EE2E9}" dt="2023-07-20T13:59:42.021" v="756" actId="2696"/>
        <pc:sldMkLst>
          <pc:docMk/>
          <pc:sldMk cId="3623541130" sldId="2147473107"/>
        </pc:sldMkLst>
      </pc:sldChg>
      <pc:sldChg chg="del">
        <pc:chgData name="Chen, Ryan" userId="aca00709-f626-4c6e-ba10-d5632b32d240" providerId="ADAL" clId="{9C13533B-6287-42CB-A65D-BB8DEA7EE2E9}" dt="2023-07-20T13:59:42.005" v="755" actId="2696"/>
        <pc:sldMkLst>
          <pc:docMk/>
          <pc:sldMk cId="57201125" sldId="2147473108"/>
        </pc:sldMkLst>
      </pc:sldChg>
      <pc:sldChg chg="del">
        <pc:chgData name="Chen, Ryan" userId="aca00709-f626-4c6e-ba10-d5632b32d240" providerId="ADAL" clId="{9C13533B-6287-42CB-A65D-BB8DEA7EE2E9}" dt="2023-07-20T13:59:38.450" v="135" actId="2696"/>
        <pc:sldMkLst>
          <pc:docMk/>
          <pc:sldMk cId="3565970713" sldId="2147473109"/>
        </pc:sldMkLst>
      </pc:sldChg>
      <pc:sldMasterChg chg="delSldLayout">
        <pc:chgData name="Chen, Ryan" userId="aca00709-f626-4c6e-ba10-d5632b32d240" providerId="ADAL" clId="{9C13533B-6287-42CB-A65D-BB8DEA7EE2E9}" dt="2023-07-20T14:03:36.686" v="764" actId="47"/>
        <pc:sldMasterMkLst>
          <pc:docMk/>
          <pc:sldMasterMk cId="2846167297" sldId="2147483677"/>
        </pc:sldMasterMkLst>
        <pc:sldLayoutChg chg="del">
          <pc:chgData name="Chen, Ryan" userId="aca00709-f626-4c6e-ba10-d5632b32d240" providerId="ADAL" clId="{9C13533B-6287-42CB-A65D-BB8DEA7EE2E9}" dt="2023-07-20T14:03:36.686" v="764" actId="47"/>
          <pc:sldLayoutMkLst>
            <pc:docMk/>
            <pc:sldMasterMk cId="2846167297" sldId="2147483677"/>
            <pc:sldLayoutMk cId="3016021648" sldId="2147483732"/>
          </pc:sldLayoutMkLst>
        </pc:sldLayoutChg>
      </pc:sldMasterChg>
    </pc:docChg>
  </pc:docChgLst>
  <pc:docChgLst>
    <pc:chgData name="Davian Kuo" userId="f0f04098-50d6-4562-8c6e-1bff3921f330" providerId="ADAL" clId="{997C0254-B530-48F6-AC6C-F067CF242C56}"/>
    <pc:docChg chg="modSld">
      <pc:chgData name="Davian Kuo" userId="f0f04098-50d6-4562-8c6e-1bff3921f330" providerId="ADAL" clId="{997C0254-B530-48F6-AC6C-F067CF242C56}" dt="2024-01-16T00:41:43.220" v="24"/>
      <pc:docMkLst>
        <pc:docMk/>
      </pc:docMkLst>
      <pc:sldChg chg="modSp mod">
        <pc:chgData name="Davian Kuo" userId="f0f04098-50d6-4562-8c6e-1bff3921f330" providerId="ADAL" clId="{997C0254-B530-48F6-AC6C-F067CF242C56}" dt="2024-01-16T00:41:43.220" v="24"/>
        <pc:sldMkLst>
          <pc:docMk/>
          <pc:sldMk cId="2264927827" sldId="2147473177"/>
        </pc:sldMkLst>
      </pc:sldChg>
      <pc:sldChg chg="modSp mod">
        <pc:chgData name="Davian Kuo" userId="f0f04098-50d6-4562-8c6e-1bff3921f330" providerId="ADAL" clId="{997C0254-B530-48F6-AC6C-F067CF242C56}" dt="2024-01-16T00:41:27.145" v="6" actId="1035"/>
        <pc:sldMkLst>
          <pc:docMk/>
          <pc:sldMk cId="2743304168" sldId="2147473182"/>
        </pc:sldMkLst>
      </pc:sldChg>
    </pc:docChg>
  </pc:docChgLst>
  <pc:docChgLst>
    <pc:chgData name="Kuo, Davian" userId="f0f04098-50d6-4562-8c6e-1bff3921f330" providerId="ADAL" clId="{AA4A128C-10D4-4989-B925-C70E18B89E7B}"/>
    <pc:docChg chg="undo custSel addSld delSld modSld modSection">
      <pc:chgData name="Kuo, Davian" userId="f0f04098-50d6-4562-8c6e-1bff3921f330" providerId="ADAL" clId="{AA4A128C-10D4-4989-B925-C70E18B89E7B}" dt="2023-11-09T11:41:15.758" v="3919" actId="1076"/>
      <pc:docMkLst>
        <pc:docMk/>
      </pc:docMkLst>
      <pc:sldChg chg="modSp add del mod">
        <pc:chgData name="Kuo, Davian" userId="f0f04098-50d6-4562-8c6e-1bff3921f330" providerId="ADAL" clId="{AA4A128C-10D4-4989-B925-C70E18B89E7B}" dt="2023-11-09T08:23:13.016" v="1155"/>
        <pc:sldMkLst>
          <pc:docMk/>
          <pc:sldMk cId="1530036682" sldId="278"/>
        </pc:sldMkLst>
      </pc:sldChg>
      <pc:sldChg chg="del">
        <pc:chgData name="Kuo, Davian" userId="f0f04098-50d6-4562-8c6e-1bff3921f330" providerId="ADAL" clId="{AA4A128C-10D4-4989-B925-C70E18B89E7B}" dt="2023-11-09T08:47:13.672" v="2616" actId="47"/>
        <pc:sldMkLst>
          <pc:docMk/>
          <pc:sldMk cId="2166949524" sldId="2147473142"/>
        </pc:sldMkLst>
      </pc:sldChg>
      <pc:sldChg chg="del">
        <pc:chgData name="Kuo, Davian" userId="f0f04098-50d6-4562-8c6e-1bff3921f330" providerId="ADAL" clId="{AA4A128C-10D4-4989-B925-C70E18B89E7B}" dt="2023-11-09T08:47:14.157" v="2617" actId="47"/>
        <pc:sldMkLst>
          <pc:docMk/>
          <pc:sldMk cId="114259287" sldId="2147473143"/>
        </pc:sldMkLst>
      </pc:sldChg>
      <pc:sldChg chg="del">
        <pc:chgData name="Kuo, Davian" userId="f0f04098-50d6-4562-8c6e-1bff3921f330" providerId="ADAL" clId="{AA4A128C-10D4-4989-B925-C70E18B89E7B}" dt="2023-11-09T08:47:14.638" v="2618" actId="47"/>
        <pc:sldMkLst>
          <pc:docMk/>
          <pc:sldMk cId="690002716" sldId="2147473144"/>
        </pc:sldMkLst>
      </pc:sldChg>
      <pc:sldChg chg="addSp delSp modSp new mod">
        <pc:chgData name="Kuo, Davian" userId="f0f04098-50d6-4562-8c6e-1bff3921f330" providerId="ADAL" clId="{AA4A128C-10D4-4989-B925-C70E18B89E7B}" dt="2023-11-09T11:37:21.119" v="3818" actId="404"/>
        <pc:sldMkLst>
          <pc:docMk/>
          <pc:sldMk cId="8506211" sldId="2147473145"/>
        </pc:sldMkLst>
      </pc:sldChg>
      <pc:sldChg chg="addSp modSp new mod">
        <pc:chgData name="Kuo, Davian" userId="f0f04098-50d6-4562-8c6e-1bff3921f330" providerId="ADAL" clId="{AA4A128C-10D4-4989-B925-C70E18B89E7B}" dt="2023-11-09T11:37:47.853" v="3828" actId="20577"/>
        <pc:sldMkLst>
          <pc:docMk/>
          <pc:sldMk cId="4212880607" sldId="2147473146"/>
        </pc:sldMkLst>
      </pc:sldChg>
      <pc:sldChg chg="addSp delSp modSp new mod">
        <pc:chgData name="Kuo, Davian" userId="f0f04098-50d6-4562-8c6e-1bff3921f330" providerId="ADAL" clId="{AA4A128C-10D4-4989-B925-C70E18B89E7B}" dt="2023-11-09T11:06:06.745" v="3206" actId="1035"/>
        <pc:sldMkLst>
          <pc:docMk/>
          <pc:sldMk cId="1727475012" sldId="2147473147"/>
        </pc:sldMkLst>
      </pc:sldChg>
      <pc:sldChg chg="addSp delSp modSp new mod">
        <pc:chgData name="Kuo, Davian" userId="f0f04098-50d6-4562-8c6e-1bff3921f330" providerId="ADAL" clId="{AA4A128C-10D4-4989-B925-C70E18B89E7B}" dt="2023-11-09T11:17:24.717" v="3315" actId="1076"/>
        <pc:sldMkLst>
          <pc:docMk/>
          <pc:sldMk cId="233631654" sldId="2147473148"/>
        </pc:sldMkLst>
      </pc:sldChg>
      <pc:sldChg chg="addSp delSp modSp new mod">
        <pc:chgData name="Kuo, Davian" userId="f0f04098-50d6-4562-8c6e-1bff3921f330" providerId="ADAL" clId="{AA4A128C-10D4-4989-B925-C70E18B89E7B}" dt="2023-11-09T11:04:31.792" v="3180" actId="1076"/>
        <pc:sldMkLst>
          <pc:docMk/>
          <pc:sldMk cId="519756904" sldId="2147473149"/>
        </pc:sldMkLst>
      </pc:sldChg>
      <pc:sldChg chg="addSp modSp new mod">
        <pc:chgData name="Kuo, Davian" userId="f0f04098-50d6-4562-8c6e-1bff3921f330" providerId="ADAL" clId="{AA4A128C-10D4-4989-B925-C70E18B89E7B}" dt="2023-11-09T10:39:25.580" v="2959" actId="20577"/>
        <pc:sldMkLst>
          <pc:docMk/>
          <pc:sldMk cId="2908229731" sldId="2147473150"/>
        </pc:sldMkLst>
      </pc:sldChg>
      <pc:sldChg chg="addSp delSp modSp new mod">
        <pc:chgData name="Kuo, Davian" userId="f0f04098-50d6-4562-8c6e-1bff3921f330" providerId="ADAL" clId="{AA4A128C-10D4-4989-B925-C70E18B89E7B}" dt="2023-11-09T11:41:15.758" v="3919" actId="1076"/>
        <pc:sldMkLst>
          <pc:docMk/>
          <pc:sldMk cId="2214563025" sldId="2147473151"/>
        </pc:sldMkLst>
      </pc:sldChg>
      <pc:sldChg chg="addSp delSp modSp new mod">
        <pc:chgData name="Kuo, Davian" userId="f0f04098-50d6-4562-8c6e-1bff3921f330" providerId="ADAL" clId="{AA4A128C-10D4-4989-B925-C70E18B89E7B}" dt="2023-11-09T11:36:47.716" v="3816" actId="20577"/>
        <pc:sldMkLst>
          <pc:docMk/>
          <pc:sldMk cId="1211501434" sldId="2147473152"/>
        </pc:sldMkLst>
      </pc:sldChg>
    </pc:docChg>
  </pc:docChgLst>
  <pc:docChgLst>
    <pc:chgData name="Chou, Ricky" userId="5a600072-2550-46c4-a60e-7fd5c990f13b" providerId="ADAL" clId="{B724036B-6349-4491-BDC8-EAD3914E242A}"/>
    <pc:docChg chg="addSld modSld">
      <pc:chgData name="Chou, Ricky" userId="5a600072-2550-46c4-a60e-7fd5c990f13b" providerId="ADAL" clId="{B724036B-6349-4491-BDC8-EAD3914E242A}" dt="2023-08-17T10:20:28.236" v="5" actId="1076"/>
      <pc:docMkLst>
        <pc:docMk/>
      </pc:docMkLst>
      <pc:sldChg chg="modSp add mod">
        <pc:chgData name="Chou, Ricky" userId="5a600072-2550-46c4-a60e-7fd5c990f13b" providerId="ADAL" clId="{B724036B-6349-4491-BDC8-EAD3914E242A}" dt="2023-08-17T10:20:28.236" v="5" actId="1076"/>
        <pc:sldMkLst>
          <pc:docMk/>
          <pc:sldMk cId="461710636" sldId="623"/>
        </pc:sldMkLst>
      </pc:sldChg>
      <pc:sldChg chg="add">
        <pc:chgData name="Chou, Ricky" userId="5a600072-2550-46c4-a60e-7fd5c990f13b" providerId="ADAL" clId="{B724036B-6349-4491-BDC8-EAD3914E242A}" dt="2023-08-17T10:20:05.218" v="0"/>
        <pc:sldMkLst>
          <pc:docMk/>
          <pc:sldMk cId="411799343" sldId="624"/>
        </pc:sldMkLst>
      </pc:sldChg>
    </pc:docChg>
  </pc:docChgLst>
  <pc:docChgLst>
    <pc:chgData name="Chou, Ricky" userId="S::ricky.chou@zeiss.com::5a600072-2550-46c4-a60e-7fd5c990f13b" providerId="AD" clId="Web-{95D72AF6-16CB-2AD1-378B-93E1D31318E8}"/>
    <pc:docChg chg="delSld modSection">
      <pc:chgData name="Chou, Ricky" userId="S::ricky.chou@zeiss.com::5a600072-2550-46c4-a60e-7fd5c990f13b" providerId="AD" clId="Web-{95D72AF6-16CB-2AD1-378B-93E1D31318E8}" dt="2023-07-14T03:38:59.429" v="0"/>
      <pc:docMkLst>
        <pc:docMk/>
      </pc:docMkLst>
      <pc:sldChg chg="del">
        <pc:chgData name="Chou, Ricky" userId="S::ricky.chou@zeiss.com::5a600072-2550-46c4-a60e-7fd5c990f13b" providerId="AD" clId="Web-{95D72AF6-16CB-2AD1-378B-93E1D31318E8}" dt="2023-07-14T03:38:59.429" v="0"/>
        <pc:sldMkLst>
          <pc:docMk/>
          <pc:sldMk cId="3897171344" sldId="2147473106"/>
        </pc:sldMkLst>
      </pc:sldChg>
    </pc:docChg>
  </pc:docChgLst>
  <pc:docChgLst>
    <pc:chgData name="Chen, Ryan" userId="aca00709-f626-4c6e-ba10-d5632b32d240" providerId="ADAL" clId="{FBEB4B60-4769-4F4D-90BF-DB7898D6A504}"/>
    <pc:docChg chg="custSel modSld">
      <pc:chgData name="Chen, Ryan" userId="aca00709-f626-4c6e-ba10-d5632b32d240" providerId="ADAL" clId="{FBEB4B60-4769-4F4D-90BF-DB7898D6A504}" dt="2023-08-31T09:16:45.332" v="4" actId="478"/>
      <pc:docMkLst>
        <pc:docMk/>
      </pc:docMkLst>
      <pc:sldChg chg="delSp modSp mod">
        <pc:chgData name="Chen, Ryan" userId="aca00709-f626-4c6e-ba10-d5632b32d240" providerId="ADAL" clId="{FBEB4B60-4769-4F4D-90BF-DB7898D6A504}" dt="2023-08-31T09:16:45.332" v="4" actId="478"/>
        <pc:sldMkLst>
          <pc:docMk/>
          <pc:sldMk cId="1807022871" sldId="284"/>
        </pc:sldMkLst>
      </pc:sldChg>
    </pc:docChg>
  </pc:docChgLst>
  <pc:docChgLst>
    <pc:chgData name="Hsieh, Shawn" userId="f93cd79d-7438-4359-8c75-142aea53e1dd" providerId="ADAL" clId="{3519FAB6-C140-4B7F-BAA8-7E5FDFA01716}"/>
    <pc:docChg chg="undo custSel addSld modSld sldOrd modSection">
      <pc:chgData name="Hsieh, Shawn" userId="f93cd79d-7438-4359-8c75-142aea53e1dd" providerId="ADAL" clId="{3519FAB6-C140-4B7F-BAA8-7E5FDFA01716}" dt="2023-08-17T23:31:45.996" v="1537" actId="14100"/>
      <pc:docMkLst>
        <pc:docMk/>
      </pc:docMkLst>
      <pc:sldChg chg="modSp mod">
        <pc:chgData name="Hsieh, Shawn" userId="f93cd79d-7438-4359-8c75-142aea53e1dd" providerId="ADAL" clId="{3519FAB6-C140-4B7F-BAA8-7E5FDFA01716}" dt="2023-08-17T09:18:35.755" v="987" actId="14100"/>
        <pc:sldMkLst>
          <pc:docMk/>
          <pc:sldMk cId="4276102211" sldId="2147473136"/>
        </pc:sldMkLst>
      </pc:sldChg>
      <pc:sldChg chg="addSp delSp modSp new mod ord">
        <pc:chgData name="Hsieh, Shawn" userId="f93cd79d-7438-4359-8c75-142aea53e1dd" providerId="ADAL" clId="{3519FAB6-C140-4B7F-BAA8-7E5FDFA01716}" dt="2023-08-17T23:31:45.996" v="1537" actId="14100"/>
        <pc:sldMkLst>
          <pc:docMk/>
          <pc:sldMk cId="1790399634" sldId="2147473137"/>
        </pc:sldMkLst>
      </pc:sldChg>
    </pc:docChg>
  </pc:docChgLst>
  <pc:docChgLst>
    <pc:chgData name="Chen, Ryan" userId="aca00709-f626-4c6e-ba10-d5632b32d240" providerId="ADAL" clId="{4C484C29-9C8C-4C10-8ED0-D675E6BCE4DD}"/>
    <pc:docChg chg="custSel delSld modSld sldOrd modSection replTag">
      <pc:chgData name="Chen, Ryan" userId="aca00709-f626-4c6e-ba10-d5632b32d240" providerId="ADAL" clId="{4C484C29-9C8C-4C10-8ED0-D675E6BCE4DD}" dt="2023-08-10T10:18:21.466" v="784" actId="207"/>
      <pc:docMkLst>
        <pc:docMk/>
      </pc:docMkLst>
      <pc:sldChg chg="ord">
        <pc:chgData name="Chen, Ryan" userId="aca00709-f626-4c6e-ba10-d5632b32d240" providerId="ADAL" clId="{4C484C29-9C8C-4C10-8ED0-D675E6BCE4DD}" dt="2023-08-10T10:16:57.736" v="782"/>
        <pc:sldMkLst>
          <pc:docMk/>
          <pc:sldMk cId="3887982491" sldId="272"/>
        </pc:sldMkLst>
      </pc:sldChg>
      <pc:sldChg chg="addSp delSp modSp mod">
        <pc:chgData name="Chen, Ryan" userId="aca00709-f626-4c6e-ba10-d5632b32d240" providerId="ADAL" clId="{4C484C29-9C8C-4C10-8ED0-D675E6BCE4DD}" dt="2023-08-10T10:15:23.442" v="418"/>
        <pc:sldMkLst>
          <pc:docMk/>
          <pc:sldMk cId="487370219" sldId="2147472916"/>
        </pc:sldMkLst>
      </pc:sldChg>
      <pc:sldChg chg="addSp delSp modSp mod">
        <pc:chgData name="Chen, Ryan" userId="aca00709-f626-4c6e-ba10-d5632b32d240" providerId="ADAL" clId="{4C484C29-9C8C-4C10-8ED0-D675E6BCE4DD}" dt="2023-08-10T10:15:24.159" v="524"/>
        <pc:sldMkLst>
          <pc:docMk/>
          <pc:sldMk cId="1464975751" sldId="2147472917"/>
        </pc:sldMkLst>
      </pc:sldChg>
      <pc:sldChg chg="addSp delSp modSp mod">
        <pc:chgData name="Chen, Ryan" userId="aca00709-f626-4c6e-ba10-d5632b32d240" providerId="ADAL" clId="{4C484C29-9C8C-4C10-8ED0-D675E6BCE4DD}" dt="2023-08-10T10:15:23.720" v="471"/>
        <pc:sldMkLst>
          <pc:docMk/>
          <pc:sldMk cId="2026543933" sldId="2147472966"/>
        </pc:sldMkLst>
      </pc:sldChg>
      <pc:sldChg chg="addSp delSp modSp mod">
        <pc:chgData name="Chen, Ryan" userId="aca00709-f626-4c6e-ba10-d5632b32d240" providerId="ADAL" clId="{4C484C29-9C8C-4C10-8ED0-D675E6BCE4DD}" dt="2023-08-10T10:15:24.459" v="577"/>
        <pc:sldMkLst>
          <pc:docMk/>
          <pc:sldMk cId="574881004" sldId="2147472999"/>
        </pc:sldMkLst>
      </pc:sldChg>
      <pc:sldChg chg="modSp mod">
        <pc:chgData name="Chen, Ryan" userId="aca00709-f626-4c6e-ba10-d5632b32d240" providerId="ADAL" clId="{4C484C29-9C8C-4C10-8ED0-D675E6BCE4DD}" dt="2023-08-10T10:18:21.466" v="784" actId="207"/>
        <pc:sldMkLst>
          <pc:docMk/>
          <pc:sldMk cId="606718045" sldId="2147473084"/>
        </pc:sldMkLst>
      </pc:sldChg>
      <pc:sldChg chg="addSp delSp modSp mod">
        <pc:chgData name="Chen, Ryan" userId="aca00709-f626-4c6e-ba10-d5632b32d240" providerId="ADAL" clId="{4C484C29-9C8C-4C10-8ED0-D675E6BCE4DD}" dt="2023-08-10T10:15:24.707" v="630"/>
        <pc:sldMkLst>
          <pc:docMk/>
          <pc:sldMk cId="2178920054" sldId="2147473099"/>
        </pc:sldMkLst>
      </pc:sldChg>
      <pc:sldChg chg="addSp delSp modSp mod">
        <pc:chgData name="Chen, Ryan" userId="aca00709-f626-4c6e-ba10-d5632b32d240" providerId="ADAL" clId="{4C484C29-9C8C-4C10-8ED0-D675E6BCE4DD}" dt="2023-08-10T10:15:25.176" v="734"/>
        <pc:sldMkLst>
          <pc:docMk/>
          <pc:sldMk cId="4158958966" sldId="2147473105"/>
        </pc:sldMkLst>
      </pc:sldChg>
      <pc:sldChg chg="addSp delSp modSp mod">
        <pc:chgData name="Chen, Ryan" userId="aca00709-f626-4c6e-ba10-d5632b32d240" providerId="ADAL" clId="{4C484C29-9C8C-4C10-8ED0-D675E6BCE4DD}" dt="2023-08-10T10:15:24.964" v="683"/>
        <pc:sldMkLst>
          <pc:docMk/>
          <pc:sldMk cId="2741573247" sldId="2147473119"/>
        </pc:sldMkLst>
      </pc:sldChg>
      <pc:sldChg chg="addSp modSp">
        <pc:chgData name="Chen, Ryan" userId="aca00709-f626-4c6e-ba10-d5632b32d240" providerId="ADAL" clId="{4C484C29-9C8C-4C10-8ED0-D675E6BCE4DD}" dt="2023-08-10T10:17:24.327" v="783"/>
        <pc:sldMkLst>
          <pc:docMk/>
          <pc:sldMk cId="3222976798" sldId="2147473125"/>
        </pc:sldMkLst>
      </pc:sldChg>
      <pc:sldChg chg="delSp modSp del mod">
        <pc:chgData name="Chen, Ryan" userId="aca00709-f626-4c6e-ba10-d5632b32d240" providerId="ADAL" clId="{4C484C29-9C8C-4C10-8ED0-D675E6BCE4DD}" dt="2023-08-10T10:15:25.462" v="779" actId="2696"/>
        <pc:sldMkLst>
          <pc:docMk/>
          <pc:sldMk cId="3786519927" sldId="2147473127"/>
        </pc:sldMkLst>
      </pc:sldChg>
      <pc:sldChg chg="del">
        <pc:chgData name="Chen, Ryan" userId="aca00709-f626-4c6e-ba10-d5632b32d240" providerId="ADAL" clId="{4C484C29-9C8C-4C10-8ED0-D675E6BCE4DD}" dt="2023-08-10T10:15:25.446" v="776" actId="2696"/>
        <pc:sldMkLst>
          <pc:docMk/>
          <pc:sldMk cId="134363227" sldId="2147473128"/>
        </pc:sldMkLst>
      </pc:sldChg>
      <pc:sldChg chg="del">
        <pc:chgData name="Chen, Ryan" userId="aca00709-f626-4c6e-ba10-d5632b32d240" providerId="ADAL" clId="{4C484C29-9C8C-4C10-8ED0-D675E6BCE4DD}" dt="2023-08-10T10:15:25.440" v="775" actId="2696"/>
        <pc:sldMkLst>
          <pc:docMk/>
          <pc:sldMk cId="904844603" sldId="2147473129"/>
        </pc:sldMkLst>
      </pc:sldChg>
      <pc:sldChg chg="delSp modSp mod replTag">
        <pc:chgData name="Chen, Ryan" userId="aca00709-f626-4c6e-ba10-d5632b32d240" providerId="ADAL" clId="{4C484C29-9C8C-4C10-8ED0-D675E6BCE4DD}" dt="2023-08-10T10:15:25.424" v="774" actId="20577"/>
        <pc:sldMkLst>
          <pc:docMk/>
          <pc:sldMk cId="1511083314" sldId="2147473130"/>
        </pc:sldMkLst>
      </pc:sldChg>
    </pc:docChg>
  </pc:docChgLst>
  <pc:docChgLst>
    <pc:chgData name="Chung, Steven" userId="S::steven.chung@zeiss.com::2b3d8430-5b47-4ecd-bf64-3ec3dd086abe" providerId="AD" clId="Web-{45436F75-6B1B-BD54-25FE-86B8EA0F5E2B}"/>
    <pc:docChg chg="sldOrd">
      <pc:chgData name="Chung, Steven" userId="S::steven.chung@zeiss.com::2b3d8430-5b47-4ecd-bf64-3ec3dd086abe" providerId="AD" clId="Web-{45436F75-6B1B-BD54-25FE-86B8EA0F5E2B}" dt="2023-08-04T04:04:51.228" v="0"/>
      <pc:docMkLst>
        <pc:docMk/>
      </pc:docMkLst>
      <pc:sldChg chg="ord">
        <pc:chgData name="Chung, Steven" userId="S::steven.chung@zeiss.com::2b3d8430-5b47-4ecd-bf64-3ec3dd086abe" providerId="AD" clId="Web-{45436F75-6B1B-BD54-25FE-86B8EA0F5E2B}" dt="2023-08-04T04:04:51.228" v="0"/>
        <pc:sldMkLst>
          <pc:docMk/>
          <pc:sldMk cId="3081104935" sldId="2147473123"/>
        </pc:sldMkLst>
      </pc:sldChg>
    </pc:docChg>
  </pc:docChgLst>
  <pc:docChgLst>
    <pc:chgData name="Kuo, Davian" userId="f0f04098-50d6-4562-8c6e-1bff3921f330" providerId="ADAL" clId="{E8565C0A-C776-4C91-96D1-4AFFCD9B0C7A}"/>
    <pc:docChg chg="undo custSel modSld">
      <pc:chgData name="Kuo, Davian" userId="f0f04098-50d6-4562-8c6e-1bff3921f330" providerId="ADAL" clId="{E8565C0A-C776-4C91-96D1-4AFFCD9B0C7A}" dt="2024-09-03T00:28:04.376" v="60" actId="14100"/>
      <pc:docMkLst>
        <pc:docMk/>
      </pc:docMkLst>
      <pc:sldChg chg="modSp mod">
        <pc:chgData name="Kuo, Davian" userId="f0f04098-50d6-4562-8c6e-1bff3921f330" providerId="ADAL" clId="{E8565C0A-C776-4C91-96D1-4AFFCD9B0C7A}" dt="2024-09-03T00:28:04.376" v="60" actId="14100"/>
        <pc:sldMkLst>
          <pc:docMk/>
          <pc:sldMk cId="599810960" sldId="2147473194"/>
        </pc:sldMkLst>
      </pc:sldChg>
    </pc:docChg>
  </pc:docChgLst>
  <pc:docChgLst>
    <pc:chgData name="Hsieh, Shawn" userId="f93cd79d-7438-4359-8c75-142aea53e1dd" providerId="ADAL" clId="{2A7E6628-BF9C-40ED-B908-6FEA826C42ED}"/>
    <pc:docChg chg="addSld delSld modSld modSection">
      <pc:chgData name="Hsieh, Shawn" userId="f93cd79d-7438-4359-8c75-142aea53e1dd" providerId="ADAL" clId="{2A7E6628-BF9C-40ED-B908-6FEA826C42ED}" dt="2023-08-10T09:04:20.647" v="18" actId="47"/>
      <pc:docMkLst>
        <pc:docMk/>
      </pc:docMkLst>
      <pc:sldChg chg="del">
        <pc:chgData name="Hsieh, Shawn" userId="f93cd79d-7438-4359-8c75-142aea53e1dd" providerId="ADAL" clId="{2A7E6628-BF9C-40ED-B908-6FEA826C42ED}" dt="2023-08-10T09:03:24.082" v="15" actId="47"/>
        <pc:sldMkLst>
          <pc:docMk/>
          <pc:sldMk cId="271951959" sldId="2147473069"/>
        </pc:sldMkLst>
      </pc:sldChg>
      <pc:sldChg chg="del">
        <pc:chgData name="Hsieh, Shawn" userId="f93cd79d-7438-4359-8c75-142aea53e1dd" providerId="ADAL" clId="{2A7E6628-BF9C-40ED-B908-6FEA826C42ED}" dt="2023-08-10T09:03:26.565" v="16" actId="47"/>
        <pc:sldMkLst>
          <pc:docMk/>
          <pc:sldMk cId="3308691083" sldId="2147473070"/>
        </pc:sldMkLst>
      </pc:sldChg>
      <pc:sldChg chg="del">
        <pc:chgData name="Hsieh, Shawn" userId="f93cd79d-7438-4359-8c75-142aea53e1dd" providerId="ADAL" clId="{2A7E6628-BF9C-40ED-B908-6FEA826C42ED}" dt="2023-08-10T09:03:24.082" v="15" actId="47"/>
        <pc:sldMkLst>
          <pc:docMk/>
          <pc:sldMk cId="3308257767" sldId="2147473077"/>
        </pc:sldMkLst>
      </pc:sldChg>
      <pc:sldChg chg="del">
        <pc:chgData name="Hsieh, Shawn" userId="f93cd79d-7438-4359-8c75-142aea53e1dd" providerId="ADAL" clId="{2A7E6628-BF9C-40ED-B908-6FEA826C42ED}" dt="2023-08-10T09:03:24.082" v="15" actId="47"/>
        <pc:sldMkLst>
          <pc:docMk/>
          <pc:sldMk cId="218532950" sldId="2147473083"/>
        </pc:sldMkLst>
      </pc:sldChg>
      <pc:sldChg chg="del">
        <pc:chgData name="Hsieh, Shawn" userId="f93cd79d-7438-4359-8c75-142aea53e1dd" providerId="ADAL" clId="{2A7E6628-BF9C-40ED-B908-6FEA826C42ED}" dt="2023-08-10T09:03:24.082" v="15" actId="47"/>
        <pc:sldMkLst>
          <pc:docMk/>
          <pc:sldMk cId="57341808" sldId="2147473087"/>
        </pc:sldMkLst>
      </pc:sldChg>
      <pc:sldChg chg="del">
        <pc:chgData name="Hsieh, Shawn" userId="f93cd79d-7438-4359-8c75-142aea53e1dd" providerId="ADAL" clId="{2A7E6628-BF9C-40ED-B908-6FEA826C42ED}" dt="2023-08-10T09:03:24.082" v="15" actId="47"/>
        <pc:sldMkLst>
          <pc:docMk/>
          <pc:sldMk cId="3309807860" sldId="2147473088"/>
        </pc:sldMkLst>
      </pc:sldChg>
      <pc:sldChg chg="del">
        <pc:chgData name="Hsieh, Shawn" userId="f93cd79d-7438-4359-8c75-142aea53e1dd" providerId="ADAL" clId="{2A7E6628-BF9C-40ED-B908-6FEA826C42ED}" dt="2023-08-10T09:03:24.082" v="15" actId="47"/>
        <pc:sldMkLst>
          <pc:docMk/>
          <pc:sldMk cId="3327270563" sldId="2147473093"/>
        </pc:sldMkLst>
      </pc:sldChg>
      <pc:sldChg chg="modSp mod">
        <pc:chgData name="Hsieh, Shawn" userId="f93cd79d-7438-4359-8c75-142aea53e1dd" providerId="ADAL" clId="{2A7E6628-BF9C-40ED-B908-6FEA826C42ED}" dt="2023-08-10T09:02:57.867" v="14" actId="20577"/>
        <pc:sldMkLst>
          <pc:docMk/>
          <pc:sldMk cId="670170616" sldId="2147473115"/>
        </pc:sldMkLst>
      </pc:sldChg>
      <pc:sldChg chg="del">
        <pc:chgData name="Hsieh, Shawn" userId="f93cd79d-7438-4359-8c75-142aea53e1dd" providerId="ADAL" clId="{2A7E6628-BF9C-40ED-B908-6FEA826C42ED}" dt="2023-08-10T09:04:20.647" v="18" actId="47"/>
        <pc:sldMkLst>
          <pc:docMk/>
          <pc:sldMk cId="3081104935" sldId="2147473123"/>
        </pc:sldMkLst>
      </pc:sldChg>
      <pc:sldChg chg="modSp mod">
        <pc:chgData name="Hsieh, Shawn" userId="f93cd79d-7438-4359-8c75-142aea53e1dd" providerId="ADAL" clId="{2A7E6628-BF9C-40ED-B908-6FEA826C42ED}" dt="2023-08-10T09:02:43.309" v="12" actId="20577"/>
        <pc:sldMkLst>
          <pc:docMk/>
          <pc:sldMk cId="1886465168" sldId="2147473124"/>
        </pc:sldMkLst>
      </pc:sldChg>
      <pc:sldChg chg="add">
        <pc:chgData name="Hsieh, Shawn" userId="f93cd79d-7438-4359-8c75-142aea53e1dd" providerId="ADAL" clId="{2A7E6628-BF9C-40ED-B908-6FEA826C42ED}" dt="2023-08-10T09:04:15.435" v="17"/>
        <pc:sldMkLst>
          <pc:docMk/>
          <pc:sldMk cId="922703012" sldId="2147473126"/>
        </pc:sldMkLst>
      </pc:sldChg>
    </pc:docChg>
  </pc:docChgLst>
  <pc:docChgLst>
    <pc:chgData name="Davian Kuo" userId="f0f04098-50d6-4562-8c6e-1bff3921f330" providerId="ADAL" clId="{F3625B86-36A2-4903-8AE9-896339983F5D}"/>
    <pc:docChg chg="undo custSel addSld modSld">
      <pc:chgData name="Davian Kuo" userId="f0f04098-50d6-4562-8c6e-1bff3921f330" providerId="ADAL" clId="{F3625B86-36A2-4903-8AE9-896339983F5D}" dt="2024-02-22T00:23:50.538" v="2925" actId="20577"/>
      <pc:docMkLst>
        <pc:docMk/>
      </pc:docMkLst>
      <pc:sldChg chg="modSp mod">
        <pc:chgData name="Davian Kuo" userId="f0f04098-50d6-4562-8c6e-1bff3921f330" providerId="ADAL" clId="{F3625B86-36A2-4903-8AE9-896339983F5D}" dt="2024-02-22T00:23:50.538" v="2925" actId="20577"/>
        <pc:sldMkLst>
          <pc:docMk/>
          <pc:sldMk cId="1251943622" sldId="2147473188"/>
        </pc:sldMkLst>
      </pc:sldChg>
      <pc:sldChg chg="addSp modSp mod">
        <pc:chgData name="Davian Kuo" userId="f0f04098-50d6-4562-8c6e-1bff3921f330" providerId="ADAL" clId="{F3625B86-36A2-4903-8AE9-896339983F5D}" dt="2024-02-21T07:00:33.565" v="2691" actId="1037"/>
        <pc:sldMkLst>
          <pc:docMk/>
          <pc:sldMk cId="1228475918" sldId="2147473192"/>
        </pc:sldMkLst>
      </pc:sldChg>
      <pc:sldChg chg="addSp delSp modSp mod">
        <pc:chgData name="Davian Kuo" userId="f0f04098-50d6-4562-8c6e-1bff3921f330" providerId="ADAL" clId="{F3625B86-36A2-4903-8AE9-896339983F5D}" dt="2024-02-21T06:58:37.556" v="2663" actId="20577"/>
        <pc:sldMkLst>
          <pc:docMk/>
          <pc:sldMk cId="2986069778" sldId="2147473193"/>
        </pc:sldMkLst>
      </pc:sldChg>
      <pc:sldChg chg="modSp mod">
        <pc:chgData name="Davian Kuo" userId="f0f04098-50d6-4562-8c6e-1bff3921f330" providerId="ADAL" clId="{F3625B86-36A2-4903-8AE9-896339983F5D}" dt="2024-02-21T07:04:39.358" v="2874" actId="5793"/>
        <pc:sldMkLst>
          <pc:docMk/>
          <pc:sldMk cId="785948304" sldId="2147473194"/>
        </pc:sldMkLst>
      </pc:sldChg>
      <pc:sldChg chg="addSp modSp mod">
        <pc:chgData name="Davian Kuo" userId="f0f04098-50d6-4562-8c6e-1bff3921f330" providerId="ADAL" clId="{F3625B86-36A2-4903-8AE9-896339983F5D}" dt="2024-02-21T07:01:28.937" v="2727" actId="20577"/>
        <pc:sldMkLst>
          <pc:docMk/>
          <pc:sldMk cId="3744296811" sldId="2147473195"/>
        </pc:sldMkLst>
      </pc:sldChg>
      <pc:sldChg chg="addSp delSp modSp mod">
        <pc:chgData name="Davian Kuo" userId="f0f04098-50d6-4562-8c6e-1bff3921f330" providerId="ADAL" clId="{F3625B86-36A2-4903-8AE9-896339983F5D}" dt="2024-02-21T07:02:50.719" v="2765" actId="14100"/>
        <pc:sldMkLst>
          <pc:docMk/>
          <pc:sldMk cId="3391740253" sldId="2147473196"/>
        </pc:sldMkLst>
      </pc:sldChg>
      <pc:sldChg chg="addSp delSp modSp add mod">
        <pc:chgData name="Davian Kuo" userId="f0f04098-50d6-4562-8c6e-1bff3921f330" providerId="ADAL" clId="{F3625B86-36A2-4903-8AE9-896339983F5D}" dt="2024-02-21T07:06:58.663" v="2889" actId="20577"/>
        <pc:sldMkLst>
          <pc:docMk/>
          <pc:sldMk cId="2669564567" sldId="2147473197"/>
        </pc:sldMkLst>
      </pc:sldChg>
    </pc:docChg>
  </pc:docChgLst>
  <pc:docChgLst>
    <pc:chgData name="Chung, Steven" userId="2b3d8430-5b47-4ecd-bf64-3ec3dd086abe" providerId="ADAL" clId="{23D844B4-A668-462B-AB17-C4A9394923F1}"/>
    <pc:docChg chg="undo custSel modSld">
      <pc:chgData name="Chung, Steven" userId="2b3d8430-5b47-4ecd-bf64-3ec3dd086abe" providerId="ADAL" clId="{23D844B4-A668-462B-AB17-C4A9394923F1}" dt="2023-07-21T03:40:57.428" v="899" actId="20577"/>
      <pc:docMkLst>
        <pc:docMk/>
      </pc:docMkLst>
      <pc:sldChg chg="modSp mod">
        <pc:chgData name="Chung, Steven" userId="2b3d8430-5b47-4ecd-bf64-3ec3dd086abe" providerId="ADAL" clId="{23D844B4-A668-462B-AB17-C4A9394923F1}" dt="2023-07-21T03:40:57.428" v="899" actId="20577"/>
        <pc:sldMkLst>
          <pc:docMk/>
          <pc:sldMk cId="2345318693" sldId="2147473101"/>
        </pc:sldMkLst>
      </pc:sldChg>
    </pc:docChg>
  </pc:docChgLst>
  <pc:docChgLst>
    <pc:chgData name="Chen, Ryan" userId="aca00709-f626-4c6e-ba10-d5632b32d240" providerId="ADAL" clId="{9A98500F-ADE5-48EF-B661-D24E4E2411DF}"/>
    <pc:docChg chg="undo redo custSel addSld delSld modSld sldOrd delMainMaster modSection replTag">
      <pc:chgData name="Chen, Ryan" userId="aca00709-f626-4c6e-ba10-d5632b32d240" providerId="ADAL" clId="{9A98500F-ADE5-48EF-B661-D24E4E2411DF}" dt="2023-08-17T10:26:40.933" v="4799" actId="207"/>
      <pc:docMkLst>
        <pc:docMk/>
      </pc:docMkLst>
      <pc:sldChg chg="addSp modSp del mod">
        <pc:chgData name="Chen, Ryan" userId="aca00709-f626-4c6e-ba10-d5632b32d240" providerId="ADAL" clId="{9A98500F-ADE5-48EF-B661-D24E4E2411DF}" dt="2023-08-17T10:25:38.268" v="4796" actId="1076"/>
        <pc:sldMkLst>
          <pc:docMk/>
          <pc:sldMk cId="461710636" sldId="623"/>
        </pc:sldMkLst>
      </pc:sldChg>
      <pc:sldChg chg="addSp modSp">
        <pc:chgData name="Chen, Ryan" userId="aca00709-f626-4c6e-ba10-d5632b32d240" providerId="ADAL" clId="{9A98500F-ADE5-48EF-B661-D24E4E2411DF}" dt="2023-08-17T10:25:29.138" v="4794"/>
        <pc:sldMkLst>
          <pc:docMk/>
          <pc:sldMk cId="411799343" sldId="624"/>
        </pc:sldMkLst>
      </pc:sldChg>
      <pc:sldChg chg="del">
        <pc:chgData name="Chen, Ryan" userId="aca00709-f626-4c6e-ba10-d5632b32d240" providerId="ADAL" clId="{9A98500F-ADE5-48EF-B661-D24E4E2411DF}" dt="2023-08-16T04:49:36.566" v="1393" actId="47"/>
        <pc:sldMkLst>
          <pc:docMk/>
          <pc:sldMk cId="3334272121" sldId="624"/>
        </pc:sldMkLst>
      </pc:sldChg>
      <pc:sldChg chg="del">
        <pc:chgData name="Chen, Ryan" userId="aca00709-f626-4c6e-ba10-d5632b32d240" providerId="ADAL" clId="{9A98500F-ADE5-48EF-B661-D24E4E2411DF}" dt="2023-08-16T04:49:36.566" v="1393" actId="47"/>
        <pc:sldMkLst>
          <pc:docMk/>
          <pc:sldMk cId="3457152266" sldId="625"/>
        </pc:sldMkLst>
      </pc:sldChg>
      <pc:sldChg chg="del">
        <pc:chgData name="Chen, Ryan" userId="aca00709-f626-4c6e-ba10-d5632b32d240" providerId="ADAL" clId="{9A98500F-ADE5-48EF-B661-D24E4E2411DF}" dt="2023-08-16T04:49:36.566" v="1393" actId="47"/>
        <pc:sldMkLst>
          <pc:docMk/>
          <pc:sldMk cId="2662852432" sldId="626"/>
        </pc:sldMkLst>
      </pc:sldChg>
      <pc:sldChg chg="del">
        <pc:chgData name="Chen, Ryan" userId="aca00709-f626-4c6e-ba10-d5632b32d240" providerId="ADAL" clId="{9A98500F-ADE5-48EF-B661-D24E4E2411DF}" dt="2023-08-16T04:49:36.566" v="1393" actId="47"/>
        <pc:sldMkLst>
          <pc:docMk/>
          <pc:sldMk cId="1322177041" sldId="627"/>
        </pc:sldMkLst>
      </pc:sldChg>
      <pc:sldChg chg="del">
        <pc:chgData name="Chen, Ryan" userId="aca00709-f626-4c6e-ba10-d5632b32d240" providerId="ADAL" clId="{9A98500F-ADE5-48EF-B661-D24E4E2411DF}" dt="2023-08-16T04:49:36.566" v="1393" actId="47"/>
        <pc:sldMkLst>
          <pc:docMk/>
          <pc:sldMk cId="1808990223" sldId="628"/>
        </pc:sldMkLst>
      </pc:sldChg>
      <pc:sldChg chg="addSp delSp modSp mod">
        <pc:chgData name="Chen, Ryan" userId="aca00709-f626-4c6e-ba10-d5632b32d240" providerId="ADAL" clId="{9A98500F-ADE5-48EF-B661-D24E4E2411DF}" dt="2023-08-17T09:52:54.529" v="4518"/>
        <pc:sldMkLst>
          <pc:docMk/>
          <pc:sldMk cId="487370219" sldId="2147472916"/>
        </pc:sldMkLst>
      </pc:sldChg>
      <pc:sldChg chg="addSp delSp modSp mod">
        <pc:chgData name="Chen, Ryan" userId="aca00709-f626-4c6e-ba10-d5632b32d240" providerId="ADAL" clId="{9A98500F-ADE5-48EF-B661-D24E4E2411DF}" dt="2023-08-17T09:52:54.848" v="4608"/>
        <pc:sldMkLst>
          <pc:docMk/>
          <pc:sldMk cId="1464975751" sldId="2147472917"/>
        </pc:sldMkLst>
      </pc:sldChg>
      <pc:sldChg chg="addSp delSp modSp mod">
        <pc:chgData name="Chen, Ryan" userId="aca00709-f626-4c6e-ba10-d5632b32d240" providerId="ADAL" clId="{9A98500F-ADE5-48EF-B661-D24E4E2411DF}" dt="2023-08-17T09:52:54.664" v="4563"/>
        <pc:sldMkLst>
          <pc:docMk/>
          <pc:sldMk cId="2026543933" sldId="2147472966"/>
        </pc:sldMkLst>
      </pc:sldChg>
      <pc:sldChg chg="addSp delSp modSp mod">
        <pc:chgData name="Chen, Ryan" userId="aca00709-f626-4c6e-ba10-d5632b32d240" providerId="ADAL" clId="{9A98500F-ADE5-48EF-B661-D24E4E2411DF}" dt="2023-08-17T09:52:54.980" v="4653"/>
        <pc:sldMkLst>
          <pc:docMk/>
          <pc:sldMk cId="574881004" sldId="2147472999"/>
        </pc:sldMkLst>
      </pc:sldChg>
      <pc:sldChg chg="modSp mod">
        <pc:chgData name="Chen, Ryan" userId="aca00709-f626-4c6e-ba10-d5632b32d240" providerId="ADAL" clId="{9A98500F-ADE5-48EF-B661-D24E4E2411DF}" dt="2023-08-17T10:26:40.933" v="4799" actId="207"/>
        <pc:sldMkLst>
          <pc:docMk/>
          <pc:sldMk cId="606718045" sldId="2147473084"/>
        </pc:sldMkLst>
      </pc:sldChg>
      <pc:sldChg chg="addSp delSp modSp mod">
        <pc:chgData name="Chen, Ryan" userId="aca00709-f626-4c6e-ba10-d5632b32d240" providerId="ADAL" clId="{9A98500F-ADE5-48EF-B661-D24E4E2411DF}" dt="2023-08-17T09:52:55.127" v="4698"/>
        <pc:sldMkLst>
          <pc:docMk/>
          <pc:sldMk cId="2178920054" sldId="2147473099"/>
        </pc:sldMkLst>
      </pc:sldChg>
      <pc:sldChg chg="del">
        <pc:chgData name="Chen, Ryan" userId="aca00709-f626-4c6e-ba10-d5632b32d240" providerId="ADAL" clId="{9A98500F-ADE5-48EF-B661-D24E4E2411DF}" dt="2023-08-16T03:22:27.307" v="403" actId="47"/>
        <pc:sldMkLst>
          <pc:docMk/>
          <pc:sldMk cId="2553963251" sldId="2147473104"/>
        </pc:sldMkLst>
      </pc:sldChg>
      <pc:sldChg chg="addSp delSp modSp del mod">
        <pc:chgData name="Chen, Ryan" userId="aca00709-f626-4c6e-ba10-d5632b32d240" providerId="ADAL" clId="{9A98500F-ADE5-48EF-B661-D24E4E2411DF}" dt="2023-08-17T09:52:53.111" v="4161" actId="2696"/>
        <pc:sldMkLst>
          <pc:docMk/>
          <pc:sldMk cId="4158958966" sldId="2147473105"/>
        </pc:sldMkLst>
      </pc:sldChg>
      <pc:sldChg chg="del">
        <pc:chgData name="Chen, Ryan" userId="aca00709-f626-4c6e-ba10-d5632b32d240" providerId="ADAL" clId="{9A98500F-ADE5-48EF-B661-D24E4E2411DF}" dt="2023-08-16T03:22:26.195" v="402" actId="47"/>
        <pc:sldMkLst>
          <pc:docMk/>
          <pc:sldMk cId="3462806789" sldId="2147473106"/>
        </pc:sldMkLst>
      </pc:sldChg>
      <pc:sldChg chg="del">
        <pc:chgData name="Chen, Ryan" userId="aca00709-f626-4c6e-ba10-d5632b32d240" providerId="ADAL" clId="{9A98500F-ADE5-48EF-B661-D24E4E2411DF}" dt="2023-08-16T03:22:24.228" v="401" actId="47"/>
        <pc:sldMkLst>
          <pc:docMk/>
          <pc:sldMk cId="1149982064" sldId="2147473108"/>
        </pc:sldMkLst>
      </pc:sldChg>
      <pc:sldChg chg="del">
        <pc:chgData name="Chen, Ryan" userId="aca00709-f626-4c6e-ba10-d5632b32d240" providerId="ADAL" clId="{9A98500F-ADE5-48EF-B661-D24E4E2411DF}" dt="2023-08-17T09:52:10.684" v="4159" actId="47"/>
        <pc:sldMkLst>
          <pc:docMk/>
          <pc:sldMk cId="670170616" sldId="2147473115"/>
        </pc:sldMkLst>
      </pc:sldChg>
      <pc:sldChg chg="addSp delSp modSp mod">
        <pc:chgData name="Chen, Ryan" userId="aca00709-f626-4c6e-ba10-d5632b32d240" providerId="ADAL" clId="{9A98500F-ADE5-48EF-B661-D24E4E2411DF}" dt="2023-08-17T09:52:55.265" v="4741"/>
        <pc:sldMkLst>
          <pc:docMk/>
          <pc:sldMk cId="2741573247" sldId="2147473119"/>
        </pc:sldMkLst>
      </pc:sldChg>
      <pc:sldChg chg="delSp modSp mod">
        <pc:chgData name="Chen, Ryan" userId="aca00709-f626-4c6e-ba10-d5632b32d240" providerId="ADAL" clId="{9A98500F-ADE5-48EF-B661-D24E4E2411DF}" dt="2023-08-17T03:42:49.668" v="3960"/>
        <pc:sldMkLst>
          <pc:docMk/>
          <pc:sldMk cId="1806998817" sldId="2147473120"/>
        </pc:sldMkLst>
      </pc:sldChg>
      <pc:sldChg chg="del">
        <pc:chgData name="Chen, Ryan" userId="aca00709-f626-4c6e-ba10-d5632b32d240" providerId="ADAL" clId="{9A98500F-ADE5-48EF-B661-D24E4E2411DF}" dt="2023-08-16T03:22:12.916" v="400" actId="47"/>
        <pc:sldMkLst>
          <pc:docMk/>
          <pc:sldMk cId="623994581" sldId="2147473121"/>
        </pc:sldMkLst>
      </pc:sldChg>
      <pc:sldChg chg="del">
        <pc:chgData name="Chen, Ryan" userId="aca00709-f626-4c6e-ba10-d5632b32d240" providerId="ADAL" clId="{9A98500F-ADE5-48EF-B661-D24E4E2411DF}" dt="2023-08-17T09:52:12.102" v="4160" actId="47"/>
        <pc:sldMkLst>
          <pc:docMk/>
          <pc:sldMk cId="2639893114" sldId="2147473122"/>
        </pc:sldMkLst>
      </pc:sldChg>
      <pc:sldChg chg="del">
        <pc:chgData name="Chen, Ryan" userId="aca00709-f626-4c6e-ba10-d5632b32d240" providerId="ADAL" clId="{9A98500F-ADE5-48EF-B661-D24E4E2411DF}" dt="2023-08-17T09:52:09.183" v="4158" actId="47"/>
        <pc:sldMkLst>
          <pc:docMk/>
          <pc:sldMk cId="3081104935" sldId="2147473123"/>
        </pc:sldMkLst>
      </pc:sldChg>
      <pc:sldChg chg="delSp modSp add del mod ord">
        <pc:chgData name="Chen, Ryan" userId="aca00709-f626-4c6e-ba10-d5632b32d240" providerId="ADAL" clId="{9A98500F-ADE5-48EF-B661-D24E4E2411DF}" dt="2023-08-17T03:28:48.087" v="3172" actId="20577"/>
        <pc:sldMkLst>
          <pc:docMk/>
          <pc:sldMk cId="1886465168" sldId="2147473124"/>
        </pc:sldMkLst>
      </pc:sldChg>
      <pc:sldChg chg="del">
        <pc:chgData name="Chen, Ryan" userId="aca00709-f626-4c6e-ba10-d5632b32d240" providerId="ADAL" clId="{9A98500F-ADE5-48EF-B661-D24E4E2411DF}" dt="2023-08-16T04:52:07.839" v="1410" actId="47"/>
        <pc:sldMkLst>
          <pc:docMk/>
          <pc:sldMk cId="3222976798" sldId="2147473125"/>
        </pc:sldMkLst>
      </pc:sldChg>
      <pc:sldChg chg="addSp delSp modSp del mod">
        <pc:chgData name="Chen, Ryan" userId="aca00709-f626-4c6e-ba10-d5632b32d240" providerId="ADAL" clId="{9A98500F-ADE5-48EF-B661-D24E4E2411DF}" dt="2023-08-17T09:55:43.493" v="4790" actId="47"/>
        <pc:sldMkLst>
          <pc:docMk/>
          <pc:sldMk cId="1511083314" sldId="2147473130"/>
        </pc:sldMkLst>
      </pc:sldChg>
      <pc:sldChg chg="delSp modSp del mod">
        <pc:chgData name="Chen, Ryan" userId="aca00709-f626-4c6e-ba10-d5632b32d240" providerId="ADAL" clId="{9A98500F-ADE5-48EF-B661-D24E4E2411DF}" dt="2023-08-16T03:40:14.183" v="1378" actId="2696"/>
        <pc:sldMkLst>
          <pc:docMk/>
          <pc:sldMk cId="244932335" sldId="2147473131"/>
        </pc:sldMkLst>
      </pc:sldChg>
      <pc:sldChg chg="modSp add del mod">
        <pc:chgData name="Chen, Ryan" userId="aca00709-f626-4c6e-ba10-d5632b32d240" providerId="ADAL" clId="{9A98500F-ADE5-48EF-B661-D24E4E2411DF}" dt="2023-08-17T09:57:09.820" v="4792" actId="47"/>
        <pc:sldMkLst>
          <pc:docMk/>
          <pc:sldMk cId="367675709" sldId="2147473131"/>
        </pc:sldMkLst>
      </pc:sldChg>
      <pc:sldChg chg="del">
        <pc:chgData name="Chen, Ryan" userId="aca00709-f626-4c6e-ba10-d5632b32d240" providerId="ADAL" clId="{9A98500F-ADE5-48EF-B661-D24E4E2411DF}" dt="2023-08-16T03:40:14.168" v="1375" actId="2696"/>
        <pc:sldMkLst>
          <pc:docMk/>
          <pc:sldMk cId="1402565648" sldId="2147473132"/>
        </pc:sldMkLst>
      </pc:sldChg>
      <pc:sldChg chg="addSp delSp modSp add mod">
        <pc:chgData name="Chen, Ryan" userId="aca00709-f626-4c6e-ba10-d5632b32d240" providerId="ADAL" clId="{9A98500F-ADE5-48EF-B661-D24E4E2411DF}" dt="2023-08-17T07:51:53.923" v="4156" actId="1037"/>
        <pc:sldMkLst>
          <pc:docMk/>
          <pc:sldMk cId="3930901498" sldId="2147473132"/>
        </pc:sldMkLst>
      </pc:sldChg>
      <pc:sldChg chg="del">
        <pc:chgData name="Chen, Ryan" userId="aca00709-f626-4c6e-ba10-d5632b32d240" providerId="ADAL" clId="{9A98500F-ADE5-48EF-B661-D24E4E2411DF}" dt="2023-08-16T03:40:14.152" v="1374" actId="2696"/>
        <pc:sldMkLst>
          <pc:docMk/>
          <pc:sldMk cId="1176265215" sldId="2147473133"/>
        </pc:sldMkLst>
      </pc:sldChg>
      <pc:sldChg chg="modSp mod">
        <pc:chgData name="Chen, Ryan" userId="aca00709-f626-4c6e-ba10-d5632b32d240" providerId="ADAL" clId="{9A98500F-ADE5-48EF-B661-D24E4E2411DF}" dt="2023-08-17T03:42:40.119" v="3959"/>
        <pc:sldMkLst>
          <pc:docMk/>
          <pc:sldMk cId="3335660132" sldId="2147473133"/>
        </pc:sldMkLst>
      </pc:sldChg>
      <pc:sldChg chg="delSp modSp del mod">
        <pc:chgData name="Chen, Ryan" userId="aca00709-f626-4c6e-ba10-d5632b32d240" providerId="ADAL" clId="{9A98500F-ADE5-48EF-B661-D24E4E2411DF}" dt="2023-08-16T04:53:02.757" v="2199" actId="2696"/>
        <pc:sldMkLst>
          <pc:docMk/>
          <pc:sldMk cId="3420385445" sldId="2147473133"/>
        </pc:sldMkLst>
      </pc:sldChg>
      <pc:sldChg chg="del">
        <pc:chgData name="Chen, Ryan" userId="aca00709-f626-4c6e-ba10-d5632b32d240" providerId="ADAL" clId="{9A98500F-ADE5-48EF-B661-D24E4E2411DF}" dt="2023-08-16T04:53:02.741" v="2196" actId="2696"/>
        <pc:sldMkLst>
          <pc:docMk/>
          <pc:sldMk cId="2215443987" sldId="2147473134"/>
        </pc:sldMkLst>
      </pc:sldChg>
      <pc:sldChg chg="del">
        <pc:chgData name="Chen, Ryan" userId="aca00709-f626-4c6e-ba10-d5632b32d240" providerId="ADAL" clId="{9A98500F-ADE5-48EF-B661-D24E4E2411DF}" dt="2023-08-16T04:53:02.741" v="2195" actId="2696"/>
        <pc:sldMkLst>
          <pc:docMk/>
          <pc:sldMk cId="2328738906" sldId="2147473135"/>
        </pc:sldMkLst>
      </pc:sldChg>
      <pc:sldChg chg="modSp mod">
        <pc:chgData name="Chen, Ryan" userId="aca00709-f626-4c6e-ba10-d5632b32d240" providerId="ADAL" clId="{9A98500F-ADE5-48EF-B661-D24E4E2411DF}" dt="2023-08-17T03:42:57.454" v="3961"/>
        <pc:sldMkLst>
          <pc:docMk/>
          <pc:sldMk cId="2914927422" sldId="2147473135"/>
        </pc:sldMkLst>
      </pc:sldChg>
      <pc:sldChg chg="delSp modSp del mod">
        <pc:chgData name="Chen, Ryan" userId="aca00709-f626-4c6e-ba10-d5632b32d240" providerId="ADAL" clId="{9A98500F-ADE5-48EF-B661-D24E4E2411DF}" dt="2023-08-17T03:31:12.723" v="3957" actId="2696"/>
        <pc:sldMkLst>
          <pc:docMk/>
          <pc:sldMk cId="2143913068" sldId="2147473136"/>
        </pc:sldMkLst>
      </pc:sldChg>
      <pc:sldChg chg="delSp modSp del mod">
        <pc:chgData name="Chen, Ryan" userId="aca00709-f626-4c6e-ba10-d5632b32d240" providerId="ADAL" clId="{9A98500F-ADE5-48EF-B661-D24E4E2411DF}" dt="2023-08-17T03:18:11.597" v="3129" actId="2696"/>
        <pc:sldMkLst>
          <pc:docMk/>
          <pc:sldMk cId="2947563260" sldId="2147473136"/>
        </pc:sldMkLst>
      </pc:sldChg>
      <pc:sldChg chg="addSp modSp">
        <pc:chgData name="Chen, Ryan" userId="aca00709-f626-4c6e-ba10-d5632b32d240" providerId="ADAL" clId="{9A98500F-ADE5-48EF-B661-D24E4E2411DF}" dt="2023-08-17T10:25:22.294" v="4793"/>
        <pc:sldMkLst>
          <pc:docMk/>
          <pc:sldMk cId="4276102211" sldId="2147473136"/>
        </pc:sldMkLst>
      </pc:sldChg>
      <pc:sldChg chg="del">
        <pc:chgData name="Chen, Ryan" userId="aca00709-f626-4c6e-ba10-d5632b32d240" providerId="ADAL" clId="{9A98500F-ADE5-48EF-B661-D24E4E2411DF}" dt="2023-08-17T03:31:12.707" v="3954" actId="2696"/>
        <pc:sldMkLst>
          <pc:docMk/>
          <pc:sldMk cId="1704597495" sldId="2147473137"/>
        </pc:sldMkLst>
      </pc:sldChg>
      <pc:sldChg chg="addSp modSp mod">
        <pc:chgData name="Chen, Ryan" userId="aca00709-f626-4c6e-ba10-d5632b32d240" providerId="ADAL" clId="{9A98500F-ADE5-48EF-B661-D24E4E2411DF}" dt="2023-08-17T10:25:47.622" v="4798" actId="1076"/>
        <pc:sldMkLst>
          <pc:docMk/>
          <pc:sldMk cId="1790399634" sldId="2147473137"/>
        </pc:sldMkLst>
      </pc:sldChg>
      <pc:sldChg chg="del">
        <pc:chgData name="Chen, Ryan" userId="aca00709-f626-4c6e-ba10-d5632b32d240" providerId="ADAL" clId="{9A98500F-ADE5-48EF-B661-D24E4E2411DF}" dt="2023-08-17T03:18:11.597" v="3126" actId="2696"/>
        <pc:sldMkLst>
          <pc:docMk/>
          <pc:sldMk cId="3422847014" sldId="2147473137"/>
        </pc:sldMkLst>
      </pc:sldChg>
      <pc:sldChg chg="del">
        <pc:chgData name="Chen, Ryan" userId="aca00709-f626-4c6e-ba10-d5632b32d240" providerId="ADAL" clId="{9A98500F-ADE5-48EF-B661-D24E4E2411DF}" dt="2023-08-17T03:18:11.582" v="3125" actId="2696"/>
        <pc:sldMkLst>
          <pc:docMk/>
          <pc:sldMk cId="2357114711" sldId="2147473138"/>
        </pc:sldMkLst>
      </pc:sldChg>
      <pc:sldChg chg="delSp modSp del mod">
        <pc:chgData name="Chen, Ryan" userId="aca00709-f626-4c6e-ba10-d5632b32d240" providerId="ADAL" clId="{9A98500F-ADE5-48EF-B661-D24E4E2411DF}" dt="2023-08-17T09:52:55.396" v="4786" actId="2696"/>
        <pc:sldMkLst>
          <pc:docMk/>
          <pc:sldMk cId="2750192584" sldId="2147473138"/>
        </pc:sldMkLst>
      </pc:sldChg>
      <pc:sldChg chg="del">
        <pc:chgData name="Chen, Ryan" userId="aca00709-f626-4c6e-ba10-d5632b32d240" providerId="ADAL" clId="{9A98500F-ADE5-48EF-B661-D24E4E2411DF}" dt="2023-08-17T03:31:12.707" v="3953" actId="2696"/>
        <pc:sldMkLst>
          <pc:docMk/>
          <pc:sldMk cId="3871806100" sldId="2147473138"/>
        </pc:sldMkLst>
      </pc:sldChg>
      <pc:sldChg chg="del">
        <pc:chgData name="Chen, Ryan" userId="aca00709-f626-4c6e-ba10-d5632b32d240" providerId="ADAL" clId="{9A98500F-ADE5-48EF-B661-D24E4E2411DF}" dt="2023-08-17T09:52:55.381" v="4783" actId="2696"/>
        <pc:sldMkLst>
          <pc:docMk/>
          <pc:sldMk cId="4041171503" sldId="2147473139"/>
        </pc:sldMkLst>
      </pc:sldChg>
      <pc:sldChg chg="del">
        <pc:chgData name="Chen, Ryan" userId="aca00709-f626-4c6e-ba10-d5632b32d240" providerId="ADAL" clId="{9A98500F-ADE5-48EF-B661-D24E4E2411DF}" dt="2023-08-17T09:52:55.381" v="4782" actId="2696"/>
        <pc:sldMkLst>
          <pc:docMk/>
          <pc:sldMk cId="1753913142" sldId="2147473140"/>
        </pc:sldMkLst>
      </pc:sldChg>
      <pc:sldMasterChg chg="del delSldLayout">
        <pc:chgData name="Chen, Ryan" userId="aca00709-f626-4c6e-ba10-d5632b32d240" providerId="ADAL" clId="{9A98500F-ADE5-48EF-B661-D24E4E2411DF}" dt="2023-08-16T04:52:07.839" v="1410" actId="47"/>
        <pc:sldMasterMkLst>
          <pc:docMk/>
          <pc:sldMasterMk cId="3001222117" sldId="2147483709"/>
        </pc:sldMasterMkLst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3466982196" sldId="2147483710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10538424" sldId="2147483711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2910076034" sldId="2147483712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3780309202" sldId="2147483713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958546148" sldId="2147483714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827634523" sldId="2147483715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1442752390" sldId="2147483716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1596076040" sldId="2147483717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1400224430" sldId="2147483718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2705709319" sldId="2147483719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3969974983" sldId="2147483720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3859565295" sldId="2147483721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3415915813" sldId="2147483722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3137226316" sldId="2147483723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561481048" sldId="2147483724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3814377136" sldId="2147483725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2076693598" sldId="2147483726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1035550069" sldId="2147483727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266160096" sldId="2147483728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1101437468" sldId="2147483729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1884316562" sldId="2147483730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1655036033" sldId="2147483731"/>
          </pc:sldLayoutMkLst>
        </pc:sldLayoutChg>
        <pc:sldLayoutChg chg="del">
          <pc:chgData name="Chen, Ryan" userId="aca00709-f626-4c6e-ba10-d5632b32d240" providerId="ADAL" clId="{9A98500F-ADE5-48EF-B661-D24E4E2411DF}" dt="2023-08-16T04:52:07.839" v="1410" actId="47"/>
          <pc:sldLayoutMkLst>
            <pc:docMk/>
            <pc:sldMasterMk cId="3001222117" sldId="2147483709"/>
            <pc:sldLayoutMk cId="1418612986" sldId="2147483732"/>
          </pc:sldLayoutMkLst>
        </pc:sldLayoutChg>
      </pc:sldMasterChg>
    </pc:docChg>
  </pc:docChgLst>
  <pc:docChgLst>
    <pc:chgData name="Hsieh, Shawn" userId="f93cd79d-7438-4359-8c75-142aea53e1dd" providerId="ADAL" clId="{66E3DCDA-0480-4081-B1D1-81C1FF5CD284}"/>
    <pc:docChg chg="custSel delSld modSld sldOrd delSection modSection replTag">
      <pc:chgData name="Hsieh, Shawn" userId="f93cd79d-7438-4359-8c75-142aea53e1dd" providerId="ADAL" clId="{66E3DCDA-0480-4081-B1D1-81C1FF5CD284}" dt="2023-07-14T04:06:11.559" v="891" actId="207"/>
      <pc:docMkLst>
        <pc:docMk/>
      </pc:docMkLst>
      <pc:sldChg chg="ord">
        <pc:chgData name="Hsieh, Shawn" userId="f93cd79d-7438-4359-8c75-142aea53e1dd" providerId="ADAL" clId="{66E3DCDA-0480-4081-B1D1-81C1FF5CD284}" dt="2023-07-14T03:41:34.395" v="886"/>
        <pc:sldMkLst>
          <pc:docMk/>
          <pc:sldMk cId="3912291754" sldId="622"/>
        </pc:sldMkLst>
      </pc:sldChg>
      <pc:sldChg chg="ord">
        <pc:chgData name="Hsieh, Shawn" userId="f93cd79d-7438-4359-8c75-142aea53e1dd" providerId="ADAL" clId="{66E3DCDA-0480-4081-B1D1-81C1FF5CD284}" dt="2023-07-14T03:41:34.395" v="886"/>
        <pc:sldMkLst>
          <pc:docMk/>
          <pc:sldMk cId="3674693808" sldId="623"/>
        </pc:sldMkLst>
      </pc:sldChg>
      <pc:sldChg chg="addSp delSp modSp mod">
        <pc:chgData name="Hsieh, Shawn" userId="f93cd79d-7438-4359-8c75-142aea53e1dd" providerId="ADAL" clId="{66E3DCDA-0480-4081-B1D1-81C1FF5CD284}" dt="2023-07-14T03:40:23.725" v="520"/>
        <pc:sldMkLst>
          <pc:docMk/>
          <pc:sldMk cId="487370219" sldId="2147472916"/>
        </pc:sldMkLst>
      </pc:sldChg>
      <pc:sldChg chg="addSp delSp modSp mod">
        <pc:chgData name="Hsieh, Shawn" userId="f93cd79d-7438-4359-8c75-142aea53e1dd" providerId="ADAL" clId="{66E3DCDA-0480-4081-B1D1-81C1FF5CD284}" dt="2023-07-14T03:40:24.048" v="626"/>
        <pc:sldMkLst>
          <pc:docMk/>
          <pc:sldMk cId="1464975751" sldId="2147472917"/>
        </pc:sldMkLst>
      </pc:sldChg>
      <pc:sldChg chg="addSp delSp modSp mod">
        <pc:chgData name="Hsieh, Shawn" userId="f93cd79d-7438-4359-8c75-142aea53e1dd" providerId="ADAL" clId="{66E3DCDA-0480-4081-B1D1-81C1FF5CD284}" dt="2023-07-14T03:40:23.850" v="573"/>
        <pc:sldMkLst>
          <pc:docMk/>
          <pc:sldMk cId="2026543933" sldId="2147472966"/>
        </pc:sldMkLst>
      </pc:sldChg>
      <pc:sldChg chg="addSp delSp modSp mod">
        <pc:chgData name="Hsieh, Shawn" userId="f93cd79d-7438-4359-8c75-142aea53e1dd" providerId="ADAL" clId="{66E3DCDA-0480-4081-B1D1-81C1FF5CD284}" dt="2023-07-14T03:40:24.155" v="679"/>
        <pc:sldMkLst>
          <pc:docMk/>
          <pc:sldMk cId="574881004" sldId="2147472999"/>
        </pc:sldMkLst>
      </pc:sldChg>
      <pc:sldChg chg="addSp delSp modSp mod ord">
        <pc:chgData name="Hsieh, Shawn" userId="f93cd79d-7438-4359-8c75-142aea53e1dd" providerId="ADAL" clId="{66E3DCDA-0480-4081-B1D1-81C1FF5CD284}" dt="2023-07-14T03:40:46.945" v="884"/>
        <pc:sldMkLst>
          <pc:docMk/>
          <pc:sldMk cId="3023511849" sldId="2147473052"/>
        </pc:sldMkLst>
      </pc:sldChg>
      <pc:sldChg chg="modSp mod">
        <pc:chgData name="Hsieh, Shawn" userId="f93cd79d-7438-4359-8c75-142aea53e1dd" providerId="ADAL" clId="{66E3DCDA-0480-4081-B1D1-81C1FF5CD284}" dt="2023-07-14T04:06:11.559" v="891" actId="207"/>
        <pc:sldMkLst>
          <pc:docMk/>
          <pc:sldMk cId="606718045" sldId="2147473084"/>
        </pc:sldMkLst>
      </pc:sldChg>
      <pc:sldChg chg="modSp mod">
        <pc:chgData name="Hsieh, Shawn" userId="f93cd79d-7438-4359-8c75-142aea53e1dd" providerId="ADAL" clId="{66E3DCDA-0480-4081-B1D1-81C1FF5CD284}" dt="2023-07-14T04:06:00.324" v="889" actId="207"/>
        <pc:sldMkLst>
          <pc:docMk/>
          <pc:sldMk cId="1719427300" sldId="2147473085"/>
        </pc:sldMkLst>
      </pc:sldChg>
      <pc:sldChg chg="delSp modSp mod">
        <pc:chgData name="Hsieh, Shawn" userId="f93cd79d-7438-4359-8c75-142aea53e1dd" providerId="ADAL" clId="{66E3DCDA-0480-4081-B1D1-81C1FF5CD284}" dt="2023-07-14T02:53:09.786" v="115" actId="478"/>
        <pc:sldMkLst>
          <pc:docMk/>
          <pc:sldMk cId="2749065764" sldId="2147473095"/>
        </pc:sldMkLst>
      </pc:sldChg>
      <pc:sldChg chg="addSp delSp modSp mod">
        <pc:chgData name="Hsieh, Shawn" userId="f93cd79d-7438-4359-8c75-142aea53e1dd" providerId="ADAL" clId="{66E3DCDA-0480-4081-B1D1-81C1FF5CD284}" dt="2023-07-14T03:40:24.281" v="732"/>
        <pc:sldMkLst>
          <pc:docMk/>
          <pc:sldMk cId="2178920054" sldId="2147473099"/>
        </pc:sldMkLst>
      </pc:sldChg>
      <pc:sldChg chg="ord">
        <pc:chgData name="Hsieh, Shawn" userId="f93cd79d-7438-4359-8c75-142aea53e1dd" providerId="ADAL" clId="{66E3DCDA-0480-4081-B1D1-81C1FF5CD284}" dt="2023-07-14T03:40:46.945" v="884"/>
        <pc:sldMkLst>
          <pc:docMk/>
          <pc:sldMk cId="209650220" sldId="2147473100"/>
        </pc:sldMkLst>
      </pc:sldChg>
      <pc:sldChg chg="delSp mod">
        <pc:chgData name="Hsieh, Shawn" userId="f93cd79d-7438-4359-8c75-142aea53e1dd" providerId="ADAL" clId="{66E3DCDA-0480-4081-B1D1-81C1FF5CD284}" dt="2023-07-14T02:55:04.089" v="116" actId="478"/>
        <pc:sldMkLst>
          <pc:docMk/>
          <pc:sldMk cId="2345318693" sldId="2147473101"/>
        </pc:sldMkLst>
      </pc:sldChg>
      <pc:sldChg chg="addSp delSp modSp mod">
        <pc:chgData name="Hsieh, Shawn" userId="f93cd79d-7438-4359-8c75-142aea53e1dd" providerId="ADAL" clId="{66E3DCDA-0480-4081-B1D1-81C1FF5CD284}" dt="2023-07-14T03:40:24.660" v="836"/>
        <pc:sldMkLst>
          <pc:docMk/>
          <pc:sldMk cId="4158958966" sldId="2147473105"/>
        </pc:sldMkLst>
      </pc:sldChg>
      <pc:sldChg chg="delSp modSp del mod">
        <pc:chgData name="Hsieh, Shawn" userId="f93cd79d-7438-4359-8c75-142aea53e1dd" providerId="ADAL" clId="{66E3DCDA-0480-4081-B1D1-81C1FF5CD284}" dt="2023-07-14T03:40:24.767" v="881" actId="2696"/>
        <pc:sldMkLst>
          <pc:docMk/>
          <pc:sldMk cId="4085904689" sldId="2147473106"/>
        </pc:sldMkLst>
      </pc:sldChg>
      <pc:sldChg chg="del">
        <pc:chgData name="Hsieh, Shawn" userId="f93cd79d-7438-4359-8c75-142aea53e1dd" providerId="ADAL" clId="{66E3DCDA-0480-4081-B1D1-81C1FF5CD284}" dt="2023-07-14T03:40:24.760" v="878" actId="2696"/>
        <pc:sldMkLst>
          <pc:docMk/>
          <pc:sldMk cId="1077738611" sldId="2147473107"/>
        </pc:sldMkLst>
      </pc:sldChg>
      <pc:sldChg chg="del">
        <pc:chgData name="Hsieh, Shawn" userId="f93cd79d-7438-4359-8c75-142aea53e1dd" providerId="ADAL" clId="{66E3DCDA-0480-4081-B1D1-81C1FF5CD284}" dt="2023-07-14T03:40:24.754" v="877" actId="2696"/>
        <pc:sldMkLst>
          <pc:docMk/>
          <pc:sldMk cId="1962865114" sldId="2147473108"/>
        </pc:sldMkLst>
      </pc:sldChg>
      <pc:sldChg chg="delSp modSp mod replTag">
        <pc:chgData name="Hsieh, Shawn" userId="f93cd79d-7438-4359-8c75-142aea53e1dd" providerId="ADAL" clId="{66E3DCDA-0480-4081-B1D1-81C1FF5CD284}" dt="2023-07-14T03:40:24.502" v="785"/>
        <pc:sldMkLst>
          <pc:docMk/>
          <pc:sldMk cId="3565970713" sldId="2147473109"/>
        </pc:sldMkLst>
      </pc:sldChg>
    </pc:docChg>
  </pc:docChgLst>
  <pc:docChgLst>
    <pc:chgData name="Kuo, Davian" userId="f0f04098-50d6-4562-8c6e-1bff3921f330" providerId="ADAL" clId="{5AEE7438-C3F2-4D34-9A47-80729037A11D}"/>
    <pc:docChg chg="undo custSel addSld delSld modSld sldOrd modSection">
      <pc:chgData name="Kuo, Davian" userId="f0f04098-50d6-4562-8c6e-1bff3921f330" providerId="ADAL" clId="{5AEE7438-C3F2-4D34-9A47-80729037A11D}" dt="2024-01-31T03:31:28.576" v="2477" actId="478"/>
      <pc:docMkLst>
        <pc:docMk/>
      </pc:docMkLst>
      <pc:sldChg chg="delSp modSp mod">
        <pc:chgData name="Kuo, Davian" userId="f0f04098-50d6-4562-8c6e-1bff3921f330" providerId="ADAL" clId="{5AEE7438-C3F2-4D34-9A47-80729037A11D}" dt="2024-01-29T16:32:43.890" v="544" actId="20577"/>
        <pc:sldMkLst>
          <pc:docMk/>
          <pc:sldMk cId="4262673275" sldId="2147473179"/>
        </pc:sldMkLst>
      </pc:sldChg>
      <pc:sldChg chg="del">
        <pc:chgData name="Kuo, Davian" userId="f0f04098-50d6-4562-8c6e-1bff3921f330" providerId="ADAL" clId="{5AEE7438-C3F2-4D34-9A47-80729037A11D}" dt="2024-01-29T16:27:35.543" v="510" actId="47"/>
        <pc:sldMkLst>
          <pc:docMk/>
          <pc:sldMk cId="210143074" sldId="2147473182"/>
        </pc:sldMkLst>
      </pc:sldChg>
      <pc:sldChg chg="new del">
        <pc:chgData name="Kuo, Davian" userId="f0f04098-50d6-4562-8c6e-1bff3921f330" providerId="ADAL" clId="{5AEE7438-C3F2-4D34-9A47-80729037A11D}" dt="2024-01-26T09:11:20.397" v="65" actId="47"/>
        <pc:sldMkLst>
          <pc:docMk/>
          <pc:sldMk cId="2935969468" sldId="2147473183"/>
        </pc:sldMkLst>
      </pc:sldChg>
      <pc:sldChg chg="addSp delSp modSp add mod ord">
        <pc:chgData name="Kuo, Davian" userId="f0f04098-50d6-4562-8c6e-1bff3921f330" providerId="ADAL" clId="{5AEE7438-C3F2-4D34-9A47-80729037A11D}" dt="2024-01-29T16:58:29.569" v="2275" actId="1076"/>
        <pc:sldMkLst>
          <pc:docMk/>
          <pc:sldMk cId="2804237678" sldId="2147473184"/>
        </pc:sldMkLst>
      </pc:sldChg>
      <pc:sldChg chg="addSp delSp modSp new mod ord">
        <pc:chgData name="Kuo, Davian" userId="f0f04098-50d6-4562-8c6e-1bff3921f330" providerId="ADAL" clId="{5AEE7438-C3F2-4D34-9A47-80729037A11D}" dt="2024-01-30T00:07:39.803" v="2464" actId="14100"/>
        <pc:sldMkLst>
          <pc:docMk/>
          <pc:sldMk cId="3601408172" sldId="2147473185"/>
        </pc:sldMkLst>
      </pc:sldChg>
      <pc:sldChg chg="delSp add mod">
        <pc:chgData name="Kuo, Davian" userId="f0f04098-50d6-4562-8c6e-1bff3921f330" providerId="ADAL" clId="{5AEE7438-C3F2-4D34-9A47-80729037A11D}" dt="2024-01-31T03:31:28.576" v="2477" actId="478"/>
        <pc:sldMkLst>
          <pc:docMk/>
          <pc:sldMk cId="3240816802" sldId="2147473186"/>
        </pc:sldMkLst>
      </pc:sldChg>
      <pc:sldChg chg="del">
        <pc:chgData name="Kuo, Davian" userId="f0f04098-50d6-4562-8c6e-1bff3921f330" providerId="ADAL" clId="{5AEE7438-C3F2-4D34-9A47-80729037A11D}" dt="2024-01-26T09:10:19.438" v="62" actId="47"/>
        <pc:sldMkLst>
          <pc:docMk/>
          <pc:sldMk cId="4218560000" sldId="2147473188"/>
        </pc:sldMkLst>
      </pc:sldChg>
    </pc:docChg>
  </pc:docChgLst>
  <pc:docChgLst>
    <pc:chgData name="Kuo, Davian" userId="f0f04098-50d6-4562-8c6e-1bff3921f330" providerId="ADAL" clId="{5DFA840B-CBB7-4C0C-85CC-B4E91AB95458}"/>
    <pc:docChg chg="undo custSel addSld delSld modSld modSection">
      <pc:chgData name="Kuo, Davian" userId="f0f04098-50d6-4562-8c6e-1bff3921f330" providerId="ADAL" clId="{5DFA840B-CBB7-4C0C-85CC-B4E91AB95458}" dt="2025-01-22T06:34:12.064" v="2436" actId="207"/>
      <pc:docMkLst>
        <pc:docMk/>
      </pc:docMkLst>
      <pc:sldChg chg="modSp mod">
        <pc:chgData name="Kuo, Davian" userId="f0f04098-50d6-4562-8c6e-1bff3921f330" providerId="ADAL" clId="{5DFA840B-CBB7-4C0C-85CC-B4E91AB95458}" dt="2025-01-21T09:10:48.045" v="30" actId="20577"/>
        <pc:sldMkLst>
          <pc:docMk/>
          <pc:sldMk cId="1153746984" sldId="274"/>
        </pc:sldMkLst>
        <pc:spChg chg="mod">
          <ac:chgData name="Kuo, Davian" userId="f0f04098-50d6-4562-8c6e-1bff3921f330" providerId="ADAL" clId="{5DFA840B-CBB7-4C0C-85CC-B4E91AB95458}" dt="2025-01-21T09:10:48.045" v="30" actId="20577"/>
          <ac:spMkLst>
            <pc:docMk/>
            <pc:sldMk cId="1153746984" sldId="274"/>
            <ac:spMk id="7" creationId="{C2757586-F489-4318-A42A-714F58193230}"/>
          </ac:spMkLst>
        </pc:spChg>
      </pc:sldChg>
      <pc:sldChg chg="modSp del mod">
        <pc:chgData name="Kuo, Davian" userId="f0f04098-50d6-4562-8c6e-1bff3921f330" providerId="ADAL" clId="{5DFA840B-CBB7-4C0C-85CC-B4E91AB95458}" dt="2025-01-22T00:24:43.335" v="1774" actId="47"/>
        <pc:sldMkLst>
          <pc:docMk/>
          <pc:sldMk cId="599810960" sldId="2147473194"/>
        </pc:sldMkLst>
      </pc:sldChg>
      <pc:sldChg chg="addSp delSp modSp new mod">
        <pc:chgData name="Kuo, Davian" userId="f0f04098-50d6-4562-8c6e-1bff3921f330" providerId="ADAL" clId="{5DFA840B-CBB7-4C0C-85CC-B4E91AB95458}" dt="2025-01-22T06:24:30.280" v="2102" actId="14100"/>
        <pc:sldMkLst>
          <pc:docMk/>
          <pc:sldMk cId="3331852425" sldId="2147473195"/>
        </pc:sldMkLst>
      </pc:sldChg>
      <pc:sldChg chg="addSp delSp modSp new mod">
        <pc:chgData name="Kuo, Davian" userId="f0f04098-50d6-4562-8c6e-1bff3921f330" providerId="ADAL" clId="{5DFA840B-CBB7-4C0C-85CC-B4E91AB95458}" dt="2025-01-22T06:16:38.981" v="2066" actId="20577"/>
        <pc:sldMkLst>
          <pc:docMk/>
          <pc:sldMk cId="3759897041" sldId="2147473196"/>
        </pc:sldMkLst>
      </pc:sldChg>
      <pc:sldChg chg="addSp modSp new mod">
        <pc:chgData name="Kuo, Davian" userId="f0f04098-50d6-4562-8c6e-1bff3921f330" providerId="ADAL" clId="{5DFA840B-CBB7-4C0C-85CC-B4E91AB95458}" dt="2025-01-22T06:34:12.064" v="2436" actId="207"/>
        <pc:sldMkLst>
          <pc:docMk/>
          <pc:sldMk cId="2135359802" sldId="2147473197"/>
        </pc:sldMkLst>
      </pc:sldChg>
      <pc:sldChg chg="addSp modSp new mod">
        <pc:chgData name="Kuo, Davian" userId="f0f04098-50d6-4562-8c6e-1bff3921f330" providerId="ADAL" clId="{5DFA840B-CBB7-4C0C-85CC-B4E91AB95458}" dt="2025-01-22T06:32:40.941" v="2397" actId="20577"/>
        <pc:sldMkLst>
          <pc:docMk/>
          <pc:sldMk cId="4181877895" sldId="2147473198"/>
        </pc:sldMkLst>
      </pc:sldChg>
    </pc:docChg>
  </pc:docChgLst>
  <pc:docChgLst>
    <pc:chgData name="Kuo, Davian" userId="f0f04098-50d6-4562-8c6e-1bff3921f330" providerId="ADAL" clId="{56693B62-2619-4934-A1FE-DB4589715FED}"/>
    <pc:docChg chg="modSld">
      <pc:chgData name="Kuo, Davian" userId="f0f04098-50d6-4562-8c6e-1bff3921f330" providerId="ADAL" clId="{56693B62-2619-4934-A1FE-DB4589715FED}" dt="2024-08-07T11:08:31.779" v="0" actId="313"/>
      <pc:docMkLst>
        <pc:docMk/>
      </pc:docMkLst>
      <pc:sldChg chg="modSp">
        <pc:chgData name="Kuo, Davian" userId="f0f04098-50d6-4562-8c6e-1bff3921f330" providerId="ADAL" clId="{56693B62-2619-4934-A1FE-DB4589715FED}" dt="2024-08-07T11:08:31.779" v="0" actId="313"/>
        <pc:sldMkLst>
          <pc:docMk/>
          <pc:sldMk cId="428255641" sldId="2147473191"/>
        </pc:sldMkLst>
      </pc:sldChg>
    </pc:docChg>
  </pc:docChgLst>
  <pc:docChgLst>
    <pc:chgData name="Chou, Ricky" userId="5a600072-2550-46c4-a60e-7fd5c990f13b" providerId="ADAL" clId="{8C706463-D47E-4ED9-8BA6-CB74C2C27229}"/>
    <pc:docChg chg="undo custSel addSld delSld modSld modSection">
      <pc:chgData name="Chou, Ricky" userId="5a600072-2550-46c4-a60e-7fd5c990f13b" providerId="ADAL" clId="{8C706463-D47E-4ED9-8BA6-CB74C2C27229}" dt="2023-08-24T11:19:40.088" v="212" actId="20577"/>
      <pc:docMkLst>
        <pc:docMk/>
      </pc:docMkLst>
      <pc:sldChg chg="add">
        <pc:chgData name="Chou, Ricky" userId="5a600072-2550-46c4-a60e-7fd5c990f13b" providerId="ADAL" clId="{8C706463-D47E-4ED9-8BA6-CB74C2C27229}" dt="2023-08-24T11:15:26.139" v="23"/>
        <pc:sldMkLst>
          <pc:docMk/>
          <pc:sldMk cId="4021877105" sldId="621"/>
        </pc:sldMkLst>
      </pc:sldChg>
      <pc:sldChg chg="add">
        <pc:chgData name="Chou, Ricky" userId="5a600072-2550-46c4-a60e-7fd5c990f13b" providerId="ADAL" clId="{8C706463-D47E-4ED9-8BA6-CB74C2C27229}" dt="2023-08-24T08:51:30.422" v="0"/>
        <pc:sldMkLst>
          <pc:docMk/>
          <pc:sldMk cId="3912291754" sldId="622"/>
        </pc:sldMkLst>
      </pc:sldChg>
      <pc:sldChg chg="add del">
        <pc:chgData name="Chou, Ricky" userId="5a600072-2550-46c4-a60e-7fd5c990f13b" providerId="ADAL" clId="{8C706463-D47E-4ED9-8BA6-CB74C2C27229}" dt="2023-08-24T10:22:52.220" v="5"/>
        <pc:sldMkLst>
          <pc:docMk/>
          <pc:sldMk cId="1559774585" sldId="624"/>
        </pc:sldMkLst>
      </pc:sldChg>
      <pc:sldChg chg="add">
        <pc:chgData name="Chou, Ricky" userId="5a600072-2550-46c4-a60e-7fd5c990f13b" providerId="ADAL" clId="{8C706463-D47E-4ED9-8BA6-CB74C2C27229}" dt="2023-08-24T08:51:39.497" v="2"/>
        <pc:sldMkLst>
          <pc:docMk/>
          <pc:sldMk cId="820508962" sldId="625"/>
        </pc:sldMkLst>
      </pc:sldChg>
      <pc:sldChg chg="addSp modSp add mod">
        <pc:chgData name="Chou, Ricky" userId="5a600072-2550-46c4-a60e-7fd5c990f13b" providerId="ADAL" clId="{8C706463-D47E-4ED9-8BA6-CB74C2C27229}" dt="2023-08-24T10:24:49.464" v="21" actId="13822"/>
        <pc:sldMkLst>
          <pc:docMk/>
          <pc:sldMk cId="3659451267" sldId="626"/>
        </pc:sldMkLst>
      </pc:sldChg>
      <pc:sldChg chg="add">
        <pc:chgData name="Chou, Ricky" userId="5a600072-2550-46c4-a60e-7fd5c990f13b" providerId="ADAL" clId="{8C706463-D47E-4ED9-8BA6-CB74C2C27229}" dt="2023-08-24T11:15:26.139" v="23"/>
        <pc:sldMkLst>
          <pc:docMk/>
          <pc:sldMk cId="419311894" sldId="627"/>
        </pc:sldMkLst>
      </pc:sldChg>
      <pc:sldChg chg="addSp modSp add mod">
        <pc:chgData name="Chou, Ricky" userId="5a600072-2550-46c4-a60e-7fd5c990f13b" providerId="ADAL" clId="{8C706463-D47E-4ED9-8BA6-CB74C2C27229}" dt="2023-08-24T11:19:40.088" v="212" actId="20577"/>
        <pc:sldMkLst>
          <pc:docMk/>
          <pc:sldMk cId="2462747648" sldId="632"/>
        </pc:sldMkLst>
      </pc:sldChg>
      <pc:sldChg chg="del">
        <pc:chgData name="Chou, Ricky" userId="5a600072-2550-46c4-a60e-7fd5c990f13b" providerId="ADAL" clId="{8C706463-D47E-4ED9-8BA6-CB74C2C27229}" dt="2023-08-24T11:15:21.536" v="22" actId="2696"/>
        <pc:sldMkLst>
          <pc:docMk/>
          <pc:sldMk cId="3335660132" sldId="2147473133"/>
        </pc:sldMkLst>
      </pc:sldChg>
    </pc:docChg>
  </pc:docChgLst>
  <pc:docChgLst>
    <pc:chgData name="Kuo, Davian" userId="f0f04098-50d6-4562-8c6e-1bff3921f330" providerId="ADAL" clId="{F36DAA6F-23B3-4892-B3A8-F83F46406EB9}"/>
    <pc:docChg chg="undo custSel addSld delSld modSld sldOrd modSection">
      <pc:chgData name="Kuo, Davian" userId="f0f04098-50d6-4562-8c6e-1bff3921f330" providerId="ADAL" clId="{F36DAA6F-23B3-4892-B3A8-F83F46406EB9}" dt="2025-03-21T10:06:34.902" v="9408" actId="1076"/>
      <pc:docMkLst>
        <pc:docMk/>
      </pc:docMkLst>
      <pc:sldChg chg="modSp mod">
        <pc:chgData name="Kuo, Davian" userId="f0f04098-50d6-4562-8c6e-1bff3921f330" providerId="ADAL" clId="{F36DAA6F-23B3-4892-B3A8-F83F46406EB9}" dt="2025-03-21T09:18:46.498" v="8084" actId="20577"/>
        <pc:sldMkLst>
          <pc:docMk/>
          <pc:sldMk cId="1153746984" sldId="274"/>
        </pc:sldMkLst>
        <pc:spChg chg="mod">
          <ac:chgData name="Kuo, Davian" userId="f0f04098-50d6-4562-8c6e-1bff3921f330" providerId="ADAL" clId="{F36DAA6F-23B3-4892-B3A8-F83F46406EB9}" dt="2025-03-21T09:18:46.498" v="8084" actId="20577"/>
          <ac:spMkLst>
            <pc:docMk/>
            <pc:sldMk cId="1153746984" sldId="274"/>
            <ac:spMk id="7" creationId="{C2757586-F489-4318-A42A-714F58193230}"/>
          </ac:spMkLst>
        </pc:spChg>
      </pc:sldChg>
      <pc:sldChg chg="del">
        <pc:chgData name="Kuo, Davian" userId="f0f04098-50d6-4562-8c6e-1bff3921f330" providerId="ADAL" clId="{F36DAA6F-23B3-4892-B3A8-F83F46406EB9}" dt="2025-03-20T08:52:38.264" v="681" actId="47"/>
        <pc:sldMkLst>
          <pc:docMk/>
          <pc:sldMk cId="3331852425" sldId="2147473195"/>
        </pc:sldMkLst>
      </pc:sldChg>
      <pc:sldChg chg="addSp delSp modSp del mod">
        <pc:chgData name="Kuo, Davian" userId="f0f04098-50d6-4562-8c6e-1bff3921f330" providerId="ADAL" clId="{F36DAA6F-23B3-4892-B3A8-F83F46406EB9}" dt="2025-03-21T07:40:40.368" v="5977" actId="47"/>
        <pc:sldMkLst>
          <pc:docMk/>
          <pc:sldMk cId="3759897041" sldId="2147473196"/>
        </pc:sldMkLst>
        <pc:spChg chg="mod">
          <ac:chgData name="Kuo, Davian" userId="f0f04098-50d6-4562-8c6e-1bff3921f330" providerId="ADAL" clId="{F36DAA6F-23B3-4892-B3A8-F83F46406EB9}" dt="2025-03-21T07:07:50.330" v="4861" actId="20577"/>
          <ac:spMkLst>
            <pc:docMk/>
            <pc:sldMk cId="3759897041" sldId="2147473196"/>
            <ac:spMk id="2" creationId="{648C60F2-9F65-BDE6-09F7-01D4E255D60F}"/>
          </ac:spMkLst>
        </pc:spChg>
        <pc:spChg chg="mod">
          <ac:chgData name="Kuo, Davian" userId="f0f04098-50d6-4562-8c6e-1bff3921f330" providerId="ADAL" clId="{F36DAA6F-23B3-4892-B3A8-F83F46406EB9}" dt="2025-03-21T07:08:11.232" v="4879" actId="20577"/>
          <ac:spMkLst>
            <pc:docMk/>
            <pc:sldMk cId="3759897041" sldId="2147473196"/>
            <ac:spMk id="3" creationId="{CAD72664-0B9E-008D-341A-F172CA0F97D1}"/>
          </ac:spMkLst>
        </pc:spChg>
        <pc:picChg chg="add del">
          <ac:chgData name="Kuo, Davian" userId="f0f04098-50d6-4562-8c6e-1bff3921f330" providerId="ADAL" clId="{F36DAA6F-23B3-4892-B3A8-F83F46406EB9}" dt="2025-03-21T07:16:04.676" v="4988" actId="21"/>
          <ac:picMkLst>
            <pc:docMk/>
            <pc:sldMk cId="3759897041" sldId="2147473196"/>
            <ac:picMk id="9" creationId="{FB13380B-D9A6-8D34-CE31-EB6B71E30B05}"/>
          </ac:picMkLst>
        </pc:picChg>
      </pc:sldChg>
      <pc:sldChg chg="del">
        <pc:chgData name="Kuo, Davian" userId="f0f04098-50d6-4562-8c6e-1bff3921f330" providerId="ADAL" clId="{F36DAA6F-23B3-4892-B3A8-F83F46406EB9}" dt="2025-03-21T07:40:38.703" v="5976" actId="47"/>
        <pc:sldMkLst>
          <pc:docMk/>
          <pc:sldMk cId="2135359802" sldId="2147473197"/>
        </pc:sldMkLst>
      </pc:sldChg>
      <pc:sldChg chg="addSp delSp modSp del mod">
        <pc:chgData name="Kuo, Davian" userId="f0f04098-50d6-4562-8c6e-1bff3921f330" providerId="ADAL" clId="{F36DAA6F-23B3-4892-B3A8-F83F46406EB9}" dt="2025-03-21T07:40:37.752" v="5975" actId="47"/>
        <pc:sldMkLst>
          <pc:docMk/>
          <pc:sldMk cId="4181877895" sldId="2147473198"/>
        </pc:sldMkLst>
        <pc:spChg chg="add del mod">
          <ac:chgData name="Kuo, Davian" userId="f0f04098-50d6-4562-8c6e-1bff3921f330" providerId="ADAL" clId="{F36DAA6F-23B3-4892-B3A8-F83F46406EB9}" dt="2025-03-21T05:47:57.580" v="4089" actId="21"/>
          <ac:spMkLst>
            <pc:docMk/>
            <pc:sldMk cId="4181877895" sldId="2147473198"/>
            <ac:spMk id="11" creationId="{4E828265-EBB1-2856-504E-199026721CD5}"/>
          </ac:spMkLst>
        </pc:spChg>
        <pc:picChg chg="add del mod">
          <ac:chgData name="Kuo, Davian" userId="f0f04098-50d6-4562-8c6e-1bff3921f330" providerId="ADAL" clId="{F36DAA6F-23B3-4892-B3A8-F83F46406EB9}" dt="2025-03-21T05:47:31.558" v="4085" actId="478"/>
          <ac:picMkLst>
            <pc:docMk/>
            <pc:sldMk cId="4181877895" sldId="2147473198"/>
            <ac:picMk id="10" creationId="{A1011AD7-917F-3D8A-CD1C-B0DEA21AFF58}"/>
          </ac:picMkLst>
        </pc:picChg>
        <pc:picChg chg="add mod">
          <ac:chgData name="Kuo, Davian" userId="f0f04098-50d6-4562-8c6e-1bff3921f330" providerId="ADAL" clId="{F36DAA6F-23B3-4892-B3A8-F83F46406EB9}" dt="2025-03-21T05:43:27.260" v="4083"/>
          <ac:picMkLst>
            <pc:docMk/>
            <pc:sldMk cId="4181877895" sldId="2147473198"/>
            <ac:picMk id="13" creationId="{2FC02C01-CFED-992B-B42A-6BA55978B7F2}"/>
          </ac:picMkLst>
        </pc:picChg>
        <pc:picChg chg="add del mod ord">
          <ac:chgData name="Kuo, Davian" userId="f0f04098-50d6-4562-8c6e-1bff3921f330" providerId="ADAL" clId="{F36DAA6F-23B3-4892-B3A8-F83F46406EB9}" dt="2025-03-21T05:47:57.580" v="4089" actId="21"/>
          <ac:picMkLst>
            <pc:docMk/>
            <pc:sldMk cId="4181877895" sldId="2147473198"/>
            <ac:picMk id="15" creationId="{D3DE7D91-EF9B-BF8C-4114-9A3EDA51CB1D}"/>
          </ac:picMkLst>
        </pc:picChg>
      </pc:sldChg>
      <pc:sldChg chg="new del">
        <pc:chgData name="Kuo, Davian" userId="f0f04098-50d6-4562-8c6e-1bff3921f330" providerId="ADAL" clId="{F36DAA6F-23B3-4892-B3A8-F83F46406EB9}" dt="2025-03-20T06:49:16.756" v="2" actId="47"/>
        <pc:sldMkLst>
          <pc:docMk/>
          <pc:sldMk cId="1742142271" sldId="2147473199"/>
        </pc:sldMkLst>
      </pc:sldChg>
      <pc:sldChg chg="addSp delSp modSp add mod">
        <pc:chgData name="Kuo, Davian" userId="f0f04098-50d6-4562-8c6e-1bff3921f330" providerId="ADAL" clId="{F36DAA6F-23B3-4892-B3A8-F83F46406EB9}" dt="2025-03-21T10:06:34.902" v="9408" actId="1076"/>
        <pc:sldMkLst>
          <pc:docMk/>
          <pc:sldMk cId="233019545" sldId="2147473200"/>
        </pc:sldMkLst>
        <pc:spChg chg="mod">
          <ac:chgData name="Kuo, Davian" userId="f0f04098-50d6-4562-8c6e-1bff3921f330" providerId="ADAL" clId="{F36DAA6F-23B3-4892-B3A8-F83F46406EB9}" dt="2025-03-21T09:20:20.355" v="8137" actId="20577"/>
          <ac:spMkLst>
            <pc:docMk/>
            <pc:sldMk cId="233019545" sldId="2147473200"/>
            <ac:spMk id="2" creationId="{AC6765C6-D881-9DC6-F9FE-21E767739C52}"/>
          </ac:spMkLst>
        </pc:spChg>
        <pc:spChg chg="mod">
          <ac:chgData name="Kuo, Davian" userId="f0f04098-50d6-4562-8c6e-1bff3921f330" providerId="ADAL" clId="{F36DAA6F-23B3-4892-B3A8-F83F46406EB9}" dt="2025-03-21T09:24:42.068" v="8291" actId="20577"/>
          <ac:spMkLst>
            <pc:docMk/>
            <pc:sldMk cId="233019545" sldId="2147473200"/>
            <ac:spMk id="3" creationId="{F3E9E729-F3B3-2C58-AE99-AE97452F9DB7}"/>
          </ac:spMkLst>
        </pc:spChg>
        <pc:spChg chg="add mod">
          <ac:chgData name="Kuo, Davian" userId="f0f04098-50d6-4562-8c6e-1bff3921f330" providerId="ADAL" clId="{F36DAA6F-23B3-4892-B3A8-F83F46406EB9}" dt="2025-03-21T09:22:06.580" v="8184"/>
          <ac:spMkLst>
            <pc:docMk/>
            <pc:sldMk cId="233019545" sldId="2147473200"/>
            <ac:spMk id="7" creationId="{6B37A918-F2B6-7521-E5E5-A4D311F7ABE0}"/>
          </ac:spMkLst>
        </pc:spChg>
        <pc:spChg chg="add">
          <ac:chgData name="Kuo, Davian" userId="f0f04098-50d6-4562-8c6e-1bff3921f330" providerId="ADAL" clId="{F36DAA6F-23B3-4892-B3A8-F83F46406EB9}" dt="2025-03-21T09:50:25.047" v="9085"/>
          <ac:spMkLst>
            <pc:docMk/>
            <pc:sldMk cId="233019545" sldId="2147473200"/>
            <ac:spMk id="9" creationId="{D4C37C3C-5A0D-DF9B-5784-2ECE7970F282}"/>
          </ac:spMkLst>
        </pc:spChg>
        <pc:spChg chg="add">
          <ac:chgData name="Kuo, Davian" userId="f0f04098-50d6-4562-8c6e-1bff3921f330" providerId="ADAL" clId="{F36DAA6F-23B3-4892-B3A8-F83F46406EB9}" dt="2025-03-21T09:58:22.521" v="9301"/>
          <ac:spMkLst>
            <pc:docMk/>
            <pc:sldMk cId="233019545" sldId="2147473200"/>
            <ac:spMk id="10" creationId="{F321D03A-E892-9F54-2559-5B79577086A2}"/>
          </ac:spMkLst>
        </pc:spChg>
        <pc:spChg chg="del mod">
          <ac:chgData name="Kuo, Davian" userId="f0f04098-50d6-4562-8c6e-1bff3921f330" providerId="ADAL" clId="{F36DAA6F-23B3-4892-B3A8-F83F46406EB9}" dt="2025-03-20T08:55:18.570" v="739" actId="478"/>
          <ac:spMkLst>
            <pc:docMk/>
            <pc:sldMk cId="233019545" sldId="2147473200"/>
            <ac:spMk id="11" creationId="{7B49BAC3-804B-150D-E7C8-9CDC66332092}"/>
          </ac:spMkLst>
        </pc:spChg>
        <pc:spChg chg="del mod">
          <ac:chgData name="Kuo, Davian" userId="f0f04098-50d6-4562-8c6e-1bff3921f330" providerId="ADAL" clId="{F36DAA6F-23B3-4892-B3A8-F83F46406EB9}" dt="2025-03-21T09:19:16.060" v="8114" actId="478"/>
          <ac:spMkLst>
            <pc:docMk/>
            <pc:sldMk cId="233019545" sldId="2147473200"/>
            <ac:spMk id="12" creationId="{FDC4BEAA-9F4D-C868-6826-2D6DB750164E}"/>
          </ac:spMkLst>
        </pc:spChg>
        <pc:spChg chg="add del mod">
          <ac:chgData name="Kuo, Davian" userId="f0f04098-50d6-4562-8c6e-1bff3921f330" providerId="ADAL" clId="{F36DAA6F-23B3-4892-B3A8-F83F46406EB9}" dt="2025-03-21T09:19:10.452" v="8106" actId="478"/>
          <ac:spMkLst>
            <pc:docMk/>
            <pc:sldMk cId="233019545" sldId="2147473200"/>
            <ac:spMk id="16" creationId="{18BF820E-8F9A-601F-8D77-FEDAC4A78865}"/>
          </ac:spMkLst>
        </pc:spChg>
        <pc:spChg chg="del mod">
          <ac:chgData name="Kuo, Davian" userId="f0f04098-50d6-4562-8c6e-1bff3921f330" providerId="ADAL" clId="{F36DAA6F-23B3-4892-B3A8-F83F46406EB9}" dt="2025-03-20T08:55:24.037" v="741" actId="478"/>
          <ac:spMkLst>
            <pc:docMk/>
            <pc:sldMk cId="233019545" sldId="2147473200"/>
            <ac:spMk id="18" creationId="{1981936F-6791-DDBA-C910-237FAB2CDDCF}"/>
          </ac:spMkLst>
        </pc:spChg>
        <pc:spChg chg="del mod">
          <ac:chgData name="Kuo, Davian" userId="f0f04098-50d6-4562-8c6e-1bff3921f330" providerId="ADAL" clId="{F36DAA6F-23B3-4892-B3A8-F83F46406EB9}" dt="2025-03-21T09:19:08.568" v="8103" actId="478"/>
          <ac:spMkLst>
            <pc:docMk/>
            <pc:sldMk cId="233019545" sldId="2147473200"/>
            <ac:spMk id="19" creationId="{6C07CB37-EF34-767E-2A32-A264B5979EB3}"/>
          </ac:spMkLst>
        </pc:spChg>
        <pc:spChg chg="mod">
          <ac:chgData name="Kuo, Davian" userId="f0f04098-50d6-4562-8c6e-1bff3921f330" providerId="ADAL" clId="{F36DAA6F-23B3-4892-B3A8-F83F46406EB9}" dt="2025-03-21T10:06:16.337" v="9406" actId="1076"/>
          <ac:spMkLst>
            <pc:docMk/>
            <pc:sldMk cId="233019545" sldId="2147473200"/>
            <ac:spMk id="21" creationId="{874E6747-AF55-895C-77ED-6123006FDC14}"/>
          </ac:spMkLst>
        </pc:spChg>
        <pc:spChg chg="del mod">
          <ac:chgData name="Kuo, Davian" userId="f0f04098-50d6-4562-8c6e-1bff3921f330" providerId="ADAL" clId="{F36DAA6F-23B3-4892-B3A8-F83F46406EB9}" dt="2025-03-21T09:19:14.222" v="8111" actId="478"/>
          <ac:spMkLst>
            <pc:docMk/>
            <pc:sldMk cId="233019545" sldId="2147473200"/>
            <ac:spMk id="22" creationId="{FFD282E7-80AE-3A68-66F7-DE1023C732F5}"/>
          </ac:spMkLst>
        </pc:spChg>
        <pc:spChg chg="del mod">
          <ac:chgData name="Kuo, Davian" userId="f0f04098-50d6-4562-8c6e-1bff3921f330" providerId="ADAL" clId="{F36DAA6F-23B3-4892-B3A8-F83F46406EB9}" dt="2025-03-21T09:19:13.593" v="8110" actId="478"/>
          <ac:spMkLst>
            <pc:docMk/>
            <pc:sldMk cId="233019545" sldId="2147473200"/>
            <ac:spMk id="29" creationId="{8D7551A8-3E3C-C7E7-9336-99F0B56EDFEC}"/>
          </ac:spMkLst>
        </pc:spChg>
        <pc:spChg chg="add del mod">
          <ac:chgData name="Kuo, Davian" userId="f0f04098-50d6-4562-8c6e-1bff3921f330" providerId="ADAL" clId="{F36DAA6F-23B3-4892-B3A8-F83F46406EB9}" dt="2025-03-21T09:19:11.409" v="8108" actId="478"/>
          <ac:spMkLst>
            <pc:docMk/>
            <pc:sldMk cId="233019545" sldId="2147473200"/>
            <ac:spMk id="30" creationId="{400E959F-FA64-914A-7CF0-29D2978F5774}"/>
          </ac:spMkLst>
        </pc:spChg>
        <pc:spChg chg="del mod">
          <ac:chgData name="Kuo, Davian" userId="f0f04098-50d6-4562-8c6e-1bff3921f330" providerId="ADAL" clId="{F36DAA6F-23B3-4892-B3A8-F83F46406EB9}" dt="2025-03-20T08:55:25.860" v="742" actId="478"/>
          <ac:spMkLst>
            <pc:docMk/>
            <pc:sldMk cId="233019545" sldId="2147473200"/>
            <ac:spMk id="31" creationId="{6553B312-BA95-7892-C61B-693685C99CF1}"/>
          </ac:spMkLst>
        </pc:spChg>
        <pc:spChg chg="del mod">
          <ac:chgData name="Kuo, Davian" userId="f0f04098-50d6-4562-8c6e-1bff3921f330" providerId="ADAL" clId="{F36DAA6F-23B3-4892-B3A8-F83F46406EB9}" dt="2025-03-21T09:19:09.228" v="8104" actId="478"/>
          <ac:spMkLst>
            <pc:docMk/>
            <pc:sldMk cId="233019545" sldId="2147473200"/>
            <ac:spMk id="36" creationId="{DE796332-698A-3C04-4E99-15CE1256B4E4}"/>
          </ac:spMkLst>
        </pc:spChg>
        <pc:spChg chg="del mod">
          <ac:chgData name="Kuo, Davian" userId="f0f04098-50d6-4562-8c6e-1bff3921f330" providerId="ADAL" clId="{F36DAA6F-23B3-4892-B3A8-F83F46406EB9}" dt="2025-03-21T09:19:09.793" v="8105" actId="478"/>
          <ac:spMkLst>
            <pc:docMk/>
            <pc:sldMk cId="233019545" sldId="2147473200"/>
            <ac:spMk id="37" creationId="{3BC8C0BB-A897-BF5D-BD3A-1DA2F7B7E4CE}"/>
          </ac:spMkLst>
        </pc:spChg>
        <pc:spChg chg="del mod">
          <ac:chgData name="Kuo, Davian" userId="f0f04098-50d6-4562-8c6e-1bff3921f330" providerId="ADAL" clId="{F36DAA6F-23B3-4892-B3A8-F83F46406EB9}" dt="2025-03-20T08:53:41.061" v="684" actId="478"/>
          <ac:spMkLst>
            <pc:docMk/>
            <pc:sldMk cId="233019545" sldId="2147473200"/>
            <ac:spMk id="41" creationId="{5EC4B4F4-C547-DD87-9DF9-F2E55B99A279}"/>
          </ac:spMkLst>
        </pc:spChg>
        <pc:spChg chg="add del mod">
          <ac:chgData name="Kuo, Davian" userId="f0f04098-50d6-4562-8c6e-1bff3921f330" providerId="ADAL" clId="{F36DAA6F-23B3-4892-B3A8-F83F46406EB9}" dt="2025-03-21T09:19:21.448" v="8119" actId="478"/>
          <ac:spMkLst>
            <pc:docMk/>
            <pc:sldMk cId="233019545" sldId="2147473200"/>
            <ac:spMk id="73" creationId="{583D1E82-1184-E879-A194-A2A63C2E55CA}"/>
          </ac:spMkLst>
        </pc:spChg>
        <pc:spChg chg="add del mod">
          <ac:chgData name="Kuo, Davian" userId="f0f04098-50d6-4562-8c6e-1bff3921f330" providerId="ADAL" clId="{F36DAA6F-23B3-4892-B3A8-F83F46406EB9}" dt="2025-03-21T09:19:20.757" v="8118" actId="478"/>
          <ac:spMkLst>
            <pc:docMk/>
            <pc:sldMk cId="233019545" sldId="2147473200"/>
            <ac:spMk id="74" creationId="{19D40DEA-6F70-141E-5EA9-4EFC630BF293}"/>
          </ac:spMkLst>
        </pc:spChg>
        <pc:spChg chg="add del mod">
          <ac:chgData name="Kuo, Davian" userId="f0f04098-50d6-4562-8c6e-1bff3921f330" providerId="ADAL" clId="{F36DAA6F-23B3-4892-B3A8-F83F46406EB9}" dt="2025-03-21T09:19:18.525" v="8115" actId="478"/>
          <ac:spMkLst>
            <pc:docMk/>
            <pc:sldMk cId="233019545" sldId="2147473200"/>
            <ac:spMk id="82" creationId="{FDA1DEB9-DB3A-8FD1-B80A-9A15EC7A66CD}"/>
          </ac:spMkLst>
        </pc:spChg>
        <pc:spChg chg="add del mod">
          <ac:chgData name="Kuo, Davian" userId="f0f04098-50d6-4562-8c6e-1bff3921f330" providerId="ADAL" clId="{F36DAA6F-23B3-4892-B3A8-F83F46406EB9}" dt="2025-03-21T09:19:19.091" v="8116" actId="478"/>
          <ac:spMkLst>
            <pc:docMk/>
            <pc:sldMk cId="233019545" sldId="2147473200"/>
            <ac:spMk id="83" creationId="{FD190292-E8A7-508A-4678-24AB89D1EA14}"/>
          </ac:spMkLst>
        </pc:spChg>
        <pc:picChg chg="add del mod ord">
          <ac:chgData name="Kuo, Davian" userId="f0f04098-50d6-4562-8c6e-1bff3921f330" providerId="ADAL" clId="{F36DAA6F-23B3-4892-B3A8-F83F46406EB9}" dt="2025-03-21T09:19:07.406" v="8102" actId="478"/>
          <ac:picMkLst>
            <pc:docMk/>
            <pc:sldMk cId="233019545" sldId="2147473200"/>
            <ac:picMk id="8" creationId="{0B75AE8F-DF50-EB88-59A5-8C4797B9EF81}"/>
          </ac:picMkLst>
        </pc:picChg>
        <pc:picChg chg="add mod">
          <ac:chgData name="Kuo, Davian" userId="f0f04098-50d6-4562-8c6e-1bff3921f330" providerId="ADAL" clId="{F36DAA6F-23B3-4892-B3A8-F83F46406EB9}" dt="2025-03-21T10:06:34.902" v="9408" actId="1076"/>
          <ac:picMkLst>
            <pc:docMk/>
            <pc:sldMk cId="233019545" sldId="2147473200"/>
            <ac:picMk id="8" creationId="{53BF24D6-DA7A-ACC8-C66E-045313A5652F}"/>
          </ac:picMkLst>
        </pc:picChg>
        <pc:picChg chg="del">
          <ac:chgData name="Kuo, Davian" userId="f0f04098-50d6-4562-8c6e-1bff3921f330" providerId="ADAL" clId="{F36DAA6F-23B3-4892-B3A8-F83F46406EB9}" dt="2025-03-20T08:24:28.438" v="3" actId="478"/>
          <ac:picMkLst>
            <pc:docMk/>
            <pc:sldMk cId="233019545" sldId="2147473200"/>
            <ac:picMk id="52" creationId="{967DCDB6-4590-FD12-7A41-7D07E194CF31}"/>
          </ac:picMkLst>
        </pc:picChg>
        <pc:cxnChg chg="del mod">
          <ac:chgData name="Kuo, Davian" userId="f0f04098-50d6-4562-8c6e-1bff3921f330" providerId="ADAL" clId="{F36DAA6F-23B3-4892-B3A8-F83F46406EB9}" dt="2025-03-20T08:53:43.117" v="685" actId="478"/>
          <ac:cxnSpMkLst>
            <pc:docMk/>
            <pc:sldMk cId="233019545" sldId="2147473200"/>
            <ac:cxnSpMk id="14" creationId="{8C45DC3C-52F4-89B2-BAA3-A3946B7A1573}"/>
          </ac:cxnSpMkLst>
        </pc:cxnChg>
        <pc:cxnChg chg="del mod">
          <ac:chgData name="Kuo, Davian" userId="f0f04098-50d6-4562-8c6e-1bff3921f330" providerId="ADAL" clId="{F36DAA6F-23B3-4892-B3A8-F83F46406EB9}" dt="2025-03-21T09:19:10.876" v="8107" actId="478"/>
          <ac:cxnSpMkLst>
            <pc:docMk/>
            <pc:sldMk cId="233019545" sldId="2147473200"/>
            <ac:cxnSpMk id="23" creationId="{53235B81-E8C2-A38D-C747-B976C42BE8EA}"/>
          </ac:cxnSpMkLst>
        </pc:cxnChg>
        <pc:cxnChg chg="del mod">
          <ac:chgData name="Kuo, Davian" userId="f0f04098-50d6-4562-8c6e-1bff3921f330" providerId="ADAL" clId="{F36DAA6F-23B3-4892-B3A8-F83F46406EB9}" dt="2025-03-20T08:55:20.738" v="740" actId="478"/>
          <ac:cxnSpMkLst>
            <pc:docMk/>
            <pc:sldMk cId="233019545" sldId="2147473200"/>
            <ac:cxnSpMk id="26" creationId="{AAD97EF5-5DF2-A73E-0FA1-DF036153CFD1}"/>
          </ac:cxnSpMkLst>
        </pc:cxnChg>
        <pc:cxnChg chg="del mod">
          <ac:chgData name="Kuo, Davian" userId="f0f04098-50d6-4562-8c6e-1bff3921f330" providerId="ADAL" clId="{F36DAA6F-23B3-4892-B3A8-F83F46406EB9}" dt="2025-03-20T08:55:30.654" v="743" actId="478"/>
          <ac:cxnSpMkLst>
            <pc:docMk/>
            <pc:sldMk cId="233019545" sldId="2147473200"/>
            <ac:cxnSpMk id="32" creationId="{F2621324-A0FC-0871-2E3F-15335F9C41B7}"/>
          </ac:cxnSpMkLst>
        </pc:cxnChg>
        <pc:cxnChg chg="add del mod">
          <ac:chgData name="Kuo, Davian" userId="f0f04098-50d6-4562-8c6e-1bff3921f330" providerId="ADAL" clId="{F36DAA6F-23B3-4892-B3A8-F83F46406EB9}" dt="2025-03-21T09:19:13.029" v="8109" actId="478"/>
          <ac:cxnSpMkLst>
            <pc:docMk/>
            <pc:sldMk cId="233019545" sldId="2147473200"/>
            <ac:cxnSpMk id="33" creationId="{634B2ADD-EFA9-94BC-E3B6-A4D3B8E7A934}"/>
          </ac:cxnSpMkLst>
        </pc:cxnChg>
        <pc:cxnChg chg="del mod">
          <ac:chgData name="Kuo, Davian" userId="f0f04098-50d6-4562-8c6e-1bff3921f330" providerId="ADAL" clId="{F36DAA6F-23B3-4892-B3A8-F83F46406EB9}" dt="2025-03-21T09:19:14.804" v="8112" actId="478"/>
          <ac:cxnSpMkLst>
            <pc:docMk/>
            <pc:sldMk cId="233019545" sldId="2147473200"/>
            <ac:cxnSpMk id="38" creationId="{36A6A7EE-7A71-03AB-5682-580631FE3A28}"/>
          </ac:cxnSpMkLst>
        </pc:cxnChg>
        <pc:cxnChg chg="del mod">
          <ac:chgData name="Kuo, Davian" userId="f0f04098-50d6-4562-8c6e-1bff3921f330" providerId="ADAL" clId="{F36DAA6F-23B3-4892-B3A8-F83F46406EB9}" dt="2025-03-21T09:19:15.635" v="8113" actId="478"/>
          <ac:cxnSpMkLst>
            <pc:docMk/>
            <pc:sldMk cId="233019545" sldId="2147473200"/>
            <ac:cxnSpMk id="49" creationId="{E4477150-2106-940A-C41A-8776ADC94C08}"/>
          </ac:cxnSpMkLst>
        </pc:cxnChg>
        <pc:cxnChg chg="add del mod">
          <ac:chgData name="Kuo, Davian" userId="f0f04098-50d6-4562-8c6e-1bff3921f330" providerId="ADAL" clId="{F36DAA6F-23B3-4892-B3A8-F83F46406EB9}" dt="2025-03-21T09:19:21.950" v="8120" actId="478"/>
          <ac:cxnSpMkLst>
            <pc:docMk/>
            <pc:sldMk cId="233019545" sldId="2147473200"/>
            <ac:cxnSpMk id="75" creationId="{F0A38450-34EA-D3C8-3D25-2D7F209742F5}"/>
          </ac:cxnSpMkLst>
        </pc:cxnChg>
        <pc:cxnChg chg="add del mod">
          <ac:chgData name="Kuo, Davian" userId="f0f04098-50d6-4562-8c6e-1bff3921f330" providerId="ADAL" clId="{F36DAA6F-23B3-4892-B3A8-F83F46406EB9}" dt="2025-03-21T09:19:20.145" v="8117" actId="478"/>
          <ac:cxnSpMkLst>
            <pc:docMk/>
            <pc:sldMk cId="233019545" sldId="2147473200"/>
            <ac:cxnSpMk id="84" creationId="{C791EC16-E2E2-A927-A56A-0B17ABFB79CD}"/>
          </ac:cxnSpMkLst>
        </pc:cxnChg>
      </pc:sldChg>
      <pc:sldChg chg="add del">
        <pc:chgData name="Kuo, Davian" userId="f0f04098-50d6-4562-8c6e-1bff3921f330" providerId="ADAL" clId="{F36DAA6F-23B3-4892-B3A8-F83F46406EB9}" dt="2025-03-20T09:12:43.539" v="1686" actId="47"/>
        <pc:sldMkLst>
          <pc:docMk/>
          <pc:sldMk cId="1298760276" sldId="2147473201"/>
        </pc:sldMkLst>
      </pc:sldChg>
      <pc:sldChg chg="addSp delSp modSp add mod ord">
        <pc:chgData name="Kuo, Davian" userId="f0f04098-50d6-4562-8c6e-1bff3921f330" providerId="ADAL" clId="{F36DAA6F-23B3-4892-B3A8-F83F46406EB9}" dt="2025-03-21T08:03:19.003" v="6462" actId="11"/>
        <pc:sldMkLst>
          <pc:docMk/>
          <pc:sldMk cId="429446232" sldId="2147473202"/>
        </pc:sldMkLst>
        <pc:spChg chg="mod">
          <ac:chgData name="Kuo, Davian" userId="f0f04098-50d6-4562-8c6e-1bff3921f330" providerId="ADAL" clId="{F36DAA6F-23B3-4892-B3A8-F83F46406EB9}" dt="2025-03-21T07:04:31.166" v="4789" actId="20577"/>
          <ac:spMkLst>
            <pc:docMk/>
            <pc:sldMk cId="429446232" sldId="2147473202"/>
            <ac:spMk id="2" creationId="{6ABD7C55-0981-2E25-BF4B-68074F9337F8}"/>
          </ac:spMkLst>
        </pc:spChg>
        <pc:spChg chg="mod">
          <ac:chgData name="Kuo, Davian" userId="f0f04098-50d6-4562-8c6e-1bff3921f330" providerId="ADAL" clId="{F36DAA6F-23B3-4892-B3A8-F83F46406EB9}" dt="2025-03-21T07:18:13.299" v="5078" actId="20577"/>
          <ac:spMkLst>
            <pc:docMk/>
            <pc:sldMk cId="429446232" sldId="2147473202"/>
            <ac:spMk id="3" creationId="{8AFE56BA-E39F-D12B-85F1-836E534867C0}"/>
          </ac:spMkLst>
        </pc:spChg>
        <pc:spChg chg="add mod">
          <ac:chgData name="Kuo, Davian" userId="f0f04098-50d6-4562-8c6e-1bff3921f330" providerId="ADAL" clId="{F36DAA6F-23B3-4892-B3A8-F83F46406EB9}" dt="2025-03-21T08:03:05.070" v="6460" actId="14100"/>
          <ac:spMkLst>
            <pc:docMk/>
            <pc:sldMk cId="429446232" sldId="2147473202"/>
            <ac:spMk id="7" creationId="{CBA6B96A-39C4-0B77-354C-58F84E861CFE}"/>
          </ac:spMkLst>
        </pc:spChg>
        <pc:spChg chg="mod">
          <ac:chgData name="Kuo, Davian" userId="f0f04098-50d6-4562-8c6e-1bff3921f330" providerId="ADAL" clId="{F36DAA6F-23B3-4892-B3A8-F83F46406EB9}" dt="2025-03-21T08:02:46.210" v="6457" actId="11"/>
          <ac:spMkLst>
            <pc:docMk/>
            <pc:sldMk cId="429446232" sldId="2147473202"/>
            <ac:spMk id="11" creationId="{7230D05D-4200-EEFA-E8B9-90162F6BCAF3}"/>
          </ac:spMkLst>
        </pc:spChg>
        <pc:spChg chg="del">
          <ac:chgData name="Kuo, Davian" userId="f0f04098-50d6-4562-8c6e-1bff3921f330" providerId="ADAL" clId="{F36DAA6F-23B3-4892-B3A8-F83F46406EB9}" dt="2025-03-20T09:08:49.670" v="1429" actId="478"/>
          <ac:spMkLst>
            <pc:docMk/>
            <pc:sldMk cId="429446232" sldId="2147473202"/>
            <ac:spMk id="12" creationId="{CD5CF939-E553-A39C-947F-0F9DB1DCE9E1}"/>
          </ac:spMkLst>
        </pc:spChg>
        <pc:spChg chg="del">
          <ac:chgData name="Kuo, Davian" userId="f0f04098-50d6-4562-8c6e-1bff3921f330" providerId="ADAL" clId="{F36DAA6F-23B3-4892-B3A8-F83F46406EB9}" dt="2025-03-20T09:06:30.415" v="1417" actId="478"/>
          <ac:spMkLst>
            <pc:docMk/>
            <pc:sldMk cId="429446232" sldId="2147473202"/>
            <ac:spMk id="16" creationId="{547D481C-9F0E-AB72-32E2-E21DA7A6DD14}"/>
          </ac:spMkLst>
        </pc:spChg>
        <pc:spChg chg="del">
          <ac:chgData name="Kuo, Davian" userId="f0f04098-50d6-4562-8c6e-1bff3921f330" providerId="ADAL" clId="{F36DAA6F-23B3-4892-B3A8-F83F46406EB9}" dt="2025-03-20T09:10:09.482" v="1507" actId="478"/>
          <ac:spMkLst>
            <pc:docMk/>
            <pc:sldMk cId="429446232" sldId="2147473202"/>
            <ac:spMk id="18" creationId="{901CE590-52AE-00EC-7D0C-C5C586957DBC}"/>
          </ac:spMkLst>
        </pc:spChg>
        <pc:spChg chg="del">
          <ac:chgData name="Kuo, Davian" userId="f0f04098-50d6-4562-8c6e-1bff3921f330" providerId="ADAL" clId="{F36DAA6F-23B3-4892-B3A8-F83F46406EB9}" dt="2025-03-20T09:08:46.395" v="1425" actId="478"/>
          <ac:spMkLst>
            <pc:docMk/>
            <pc:sldMk cId="429446232" sldId="2147473202"/>
            <ac:spMk id="19" creationId="{C1EB9DEB-91A6-D43B-2D00-0454EFBCE4D4}"/>
          </ac:spMkLst>
        </pc:spChg>
        <pc:spChg chg="mod">
          <ac:chgData name="Kuo, Davian" userId="f0f04098-50d6-4562-8c6e-1bff3921f330" providerId="ADAL" clId="{F36DAA6F-23B3-4892-B3A8-F83F46406EB9}" dt="2025-03-21T08:03:19.003" v="6462" actId="11"/>
          <ac:spMkLst>
            <pc:docMk/>
            <pc:sldMk cId="429446232" sldId="2147473202"/>
            <ac:spMk id="21" creationId="{F3CAE0E3-5DC9-644C-1C48-42D4DF9CDD1C}"/>
          </ac:spMkLst>
        </pc:spChg>
        <pc:spChg chg="del">
          <ac:chgData name="Kuo, Davian" userId="f0f04098-50d6-4562-8c6e-1bff3921f330" providerId="ADAL" clId="{F36DAA6F-23B3-4892-B3A8-F83F46406EB9}" dt="2025-03-20T09:08:48.351" v="1427" actId="478"/>
          <ac:spMkLst>
            <pc:docMk/>
            <pc:sldMk cId="429446232" sldId="2147473202"/>
            <ac:spMk id="22" creationId="{2BE7DAE8-24E9-FE02-39DB-1D7FB73EA25C}"/>
          </ac:spMkLst>
        </pc:spChg>
        <pc:spChg chg="del">
          <ac:chgData name="Kuo, Davian" userId="f0f04098-50d6-4562-8c6e-1bff3921f330" providerId="ADAL" clId="{F36DAA6F-23B3-4892-B3A8-F83F46406EB9}" dt="2025-03-20T09:08:47.487" v="1426" actId="478"/>
          <ac:spMkLst>
            <pc:docMk/>
            <pc:sldMk cId="429446232" sldId="2147473202"/>
            <ac:spMk id="30" creationId="{EB86A381-F19A-0104-511B-5B42EE018FAA}"/>
          </ac:spMkLst>
        </pc:spChg>
        <pc:spChg chg="del">
          <ac:chgData name="Kuo, Davian" userId="f0f04098-50d6-4562-8c6e-1bff3921f330" providerId="ADAL" clId="{F36DAA6F-23B3-4892-B3A8-F83F46406EB9}" dt="2025-03-20T09:10:08.697" v="1506" actId="478"/>
          <ac:spMkLst>
            <pc:docMk/>
            <pc:sldMk cId="429446232" sldId="2147473202"/>
            <ac:spMk id="31" creationId="{01776CAA-E27D-3A13-91AF-CBCDE4571E64}"/>
          </ac:spMkLst>
        </pc:spChg>
        <pc:spChg chg="del">
          <ac:chgData name="Kuo, Davian" userId="f0f04098-50d6-4562-8c6e-1bff3921f330" providerId="ADAL" clId="{F36DAA6F-23B3-4892-B3A8-F83F46406EB9}" dt="2025-03-20T09:06:27.352" v="1415" actId="478"/>
          <ac:spMkLst>
            <pc:docMk/>
            <pc:sldMk cId="429446232" sldId="2147473202"/>
            <ac:spMk id="36" creationId="{58561528-DD9C-1140-28A2-BDCD4DCAE0EE}"/>
          </ac:spMkLst>
        </pc:spChg>
        <pc:spChg chg="del">
          <ac:chgData name="Kuo, Davian" userId="f0f04098-50d6-4562-8c6e-1bff3921f330" providerId="ADAL" clId="{F36DAA6F-23B3-4892-B3A8-F83F46406EB9}" dt="2025-03-20T09:08:45.310" v="1424" actId="478"/>
          <ac:spMkLst>
            <pc:docMk/>
            <pc:sldMk cId="429446232" sldId="2147473202"/>
            <ac:spMk id="37" creationId="{01BF7461-799C-E67B-F2BA-672961340898}"/>
          </ac:spMkLst>
        </pc:spChg>
        <pc:spChg chg="del">
          <ac:chgData name="Kuo, Davian" userId="f0f04098-50d6-4562-8c6e-1bff3921f330" providerId="ADAL" clId="{F36DAA6F-23B3-4892-B3A8-F83F46406EB9}" dt="2025-03-20T09:10:11.617" v="1509" actId="478"/>
          <ac:spMkLst>
            <pc:docMk/>
            <pc:sldMk cId="429446232" sldId="2147473202"/>
            <ac:spMk id="73" creationId="{BB9AE99D-BA88-12A8-855A-59E2FC333227}"/>
          </ac:spMkLst>
        </pc:spChg>
        <pc:spChg chg="del">
          <ac:chgData name="Kuo, Davian" userId="f0f04098-50d6-4562-8c6e-1bff3921f330" providerId="ADAL" clId="{F36DAA6F-23B3-4892-B3A8-F83F46406EB9}" dt="2025-03-20T09:10:13.031" v="1510" actId="478"/>
          <ac:spMkLst>
            <pc:docMk/>
            <pc:sldMk cId="429446232" sldId="2147473202"/>
            <ac:spMk id="74" creationId="{A2BBF4A6-0083-0B3E-26A8-03214DEF06BD}"/>
          </ac:spMkLst>
        </pc:spChg>
        <pc:spChg chg="del mod">
          <ac:chgData name="Kuo, Davian" userId="f0f04098-50d6-4562-8c6e-1bff3921f330" providerId="ADAL" clId="{F36DAA6F-23B3-4892-B3A8-F83F46406EB9}" dt="2025-03-20T09:10:16.266" v="1514" actId="478"/>
          <ac:spMkLst>
            <pc:docMk/>
            <pc:sldMk cId="429446232" sldId="2147473202"/>
            <ac:spMk id="82" creationId="{C9494617-D026-F031-1B66-C5B295A051C3}"/>
          </ac:spMkLst>
        </pc:spChg>
        <pc:spChg chg="del">
          <ac:chgData name="Kuo, Davian" userId="f0f04098-50d6-4562-8c6e-1bff3921f330" providerId="ADAL" clId="{F36DAA6F-23B3-4892-B3A8-F83F46406EB9}" dt="2025-03-20T09:10:14.727" v="1512" actId="478"/>
          <ac:spMkLst>
            <pc:docMk/>
            <pc:sldMk cId="429446232" sldId="2147473202"/>
            <ac:spMk id="83" creationId="{60D1E63D-A22B-A3E9-91C7-E4A1332972E4}"/>
          </ac:spMkLst>
        </pc:spChg>
        <pc:picChg chg="mod">
          <ac:chgData name="Kuo, Davian" userId="f0f04098-50d6-4562-8c6e-1bff3921f330" providerId="ADAL" clId="{F36DAA6F-23B3-4892-B3A8-F83F46406EB9}" dt="2025-03-20T09:09:22.536" v="1441" actId="1076"/>
          <ac:picMkLst>
            <pc:docMk/>
            <pc:sldMk cId="429446232" sldId="2147473202"/>
            <ac:picMk id="8" creationId="{C6BCDBE0-36AA-CC59-9DFF-8AF4A57E6DAB}"/>
          </ac:picMkLst>
        </pc:picChg>
        <pc:cxnChg chg="add mod">
          <ac:chgData name="Kuo, Davian" userId="f0f04098-50d6-4562-8c6e-1bff3921f330" providerId="ADAL" clId="{F36DAA6F-23B3-4892-B3A8-F83F46406EB9}" dt="2025-03-21T08:03:05.070" v="6460" actId="14100"/>
          <ac:cxnSpMkLst>
            <pc:docMk/>
            <pc:sldMk cId="429446232" sldId="2147473202"/>
            <ac:cxnSpMk id="9" creationId="{F7D830C4-3CDE-21A9-A6E5-B3C5B8E969D5}"/>
          </ac:cxnSpMkLst>
        </pc:cxnChg>
        <pc:cxnChg chg="del mod">
          <ac:chgData name="Kuo, Davian" userId="f0f04098-50d6-4562-8c6e-1bff3921f330" providerId="ADAL" clId="{F36DAA6F-23B3-4892-B3A8-F83F46406EB9}" dt="2025-03-20T09:06:29.692" v="1416" actId="478"/>
          <ac:cxnSpMkLst>
            <pc:docMk/>
            <pc:sldMk cId="429446232" sldId="2147473202"/>
            <ac:cxnSpMk id="23" creationId="{6A23430F-2719-1836-C6E9-BAB5ACEA0B35}"/>
          </ac:cxnSpMkLst>
        </pc:cxnChg>
        <pc:cxnChg chg="mod">
          <ac:chgData name="Kuo, Davian" userId="f0f04098-50d6-4562-8c6e-1bff3921f330" providerId="ADAL" clId="{F36DAA6F-23B3-4892-B3A8-F83F46406EB9}" dt="2025-03-21T08:02:46.210" v="6457" actId="11"/>
          <ac:cxnSpMkLst>
            <pc:docMk/>
            <pc:sldMk cId="429446232" sldId="2147473202"/>
            <ac:cxnSpMk id="26" creationId="{3226E862-C4AB-84EF-B58F-FC4BCDEBBC6C}"/>
          </ac:cxnSpMkLst>
        </pc:cxnChg>
        <pc:cxnChg chg="del mod">
          <ac:chgData name="Kuo, Davian" userId="f0f04098-50d6-4562-8c6e-1bff3921f330" providerId="ADAL" clId="{F36DAA6F-23B3-4892-B3A8-F83F46406EB9}" dt="2025-03-20T09:10:10.345" v="1508" actId="478"/>
          <ac:cxnSpMkLst>
            <pc:docMk/>
            <pc:sldMk cId="429446232" sldId="2147473202"/>
            <ac:cxnSpMk id="32" creationId="{AC5807E6-8CE8-A0DC-82A4-751CFC7C4D9A}"/>
          </ac:cxnSpMkLst>
        </pc:cxnChg>
        <pc:cxnChg chg="del mod">
          <ac:chgData name="Kuo, Davian" userId="f0f04098-50d6-4562-8c6e-1bff3921f330" providerId="ADAL" clId="{F36DAA6F-23B3-4892-B3A8-F83F46406EB9}" dt="2025-03-20T09:08:51.773" v="1431" actId="478"/>
          <ac:cxnSpMkLst>
            <pc:docMk/>
            <pc:sldMk cId="429446232" sldId="2147473202"/>
            <ac:cxnSpMk id="33" creationId="{5BA44822-1B5B-F448-F9F3-C551A63CA77F}"/>
          </ac:cxnSpMkLst>
        </pc:cxnChg>
        <pc:cxnChg chg="del mod">
          <ac:chgData name="Kuo, Davian" userId="f0f04098-50d6-4562-8c6e-1bff3921f330" providerId="ADAL" clId="{F36DAA6F-23B3-4892-B3A8-F83F46406EB9}" dt="2025-03-20T09:08:48.822" v="1428" actId="478"/>
          <ac:cxnSpMkLst>
            <pc:docMk/>
            <pc:sldMk cId="429446232" sldId="2147473202"/>
            <ac:cxnSpMk id="38" creationId="{A6950DD6-58C1-EBD0-36FD-92032CA040E9}"/>
          </ac:cxnSpMkLst>
        </pc:cxnChg>
        <pc:cxnChg chg="del mod">
          <ac:chgData name="Kuo, Davian" userId="f0f04098-50d6-4562-8c6e-1bff3921f330" providerId="ADAL" clId="{F36DAA6F-23B3-4892-B3A8-F83F46406EB9}" dt="2025-03-20T09:08:50.956" v="1430" actId="478"/>
          <ac:cxnSpMkLst>
            <pc:docMk/>
            <pc:sldMk cId="429446232" sldId="2147473202"/>
            <ac:cxnSpMk id="49" creationId="{14DE61D7-FF63-8821-B601-E64CEB9DDDD2}"/>
          </ac:cxnSpMkLst>
        </pc:cxnChg>
        <pc:cxnChg chg="del mod">
          <ac:chgData name="Kuo, Davian" userId="f0f04098-50d6-4562-8c6e-1bff3921f330" providerId="ADAL" clId="{F36DAA6F-23B3-4892-B3A8-F83F46406EB9}" dt="2025-03-20T09:10:13.816" v="1511" actId="478"/>
          <ac:cxnSpMkLst>
            <pc:docMk/>
            <pc:sldMk cId="429446232" sldId="2147473202"/>
            <ac:cxnSpMk id="75" creationId="{66D78D06-ACF3-7A01-8A0F-2DFB73BCDAF5}"/>
          </ac:cxnSpMkLst>
        </pc:cxnChg>
        <pc:cxnChg chg="del mod">
          <ac:chgData name="Kuo, Davian" userId="f0f04098-50d6-4562-8c6e-1bff3921f330" providerId="ADAL" clId="{F36DAA6F-23B3-4892-B3A8-F83F46406EB9}" dt="2025-03-20T09:10:18.209" v="1515" actId="478"/>
          <ac:cxnSpMkLst>
            <pc:docMk/>
            <pc:sldMk cId="429446232" sldId="2147473202"/>
            <ac:cxnSpMk id="84" creationId="{19F071B1-BA48-5289-E944-75B915BE9E92}"/>
          </ac:cxnSpMkLst>
        </pc:cxnChg>
      </pc:sldChg>
      <pc:sldChg chg="addSp delSp modSp add mod ord">
        <pc:chgData name="Kuo, Davian" userId="f0f04098-50d6-4562-8c6e-1bff3921f330" providerId="ADAL" clId="{F36DAA6F-23B3-4892-B3A8-F83F46406EB9}" dt="2025-03-21T07:33:37.952" v="5795" actId="692"/>
        <pc:sldMkLst>
          <pc:docMk/>
          <pc:sldMk cId="2700137176" sldId="2147473203"/>
        </pc:sldMkLst>
        <pc:spChg chg="mod">
          <ac:chgData name="Kuo, Davian" userId="f0f04098-50d6-4562-8c6e-1bff3921f330" providerId="ADAL" clId="{F36DAA6F-23B3-4892-B3A8-F83F46406EB9}" dt="2025-03-20T09:52:16.778" v="2651" actId="20577"/>
          <ac:spMkLst>
            <pc:docMk/>
            <pc:sldMk cId="2700137176" sldId="2147473203"/>
            <ac:spMk id="2" creationId="{B2D035FE-4DE9-9A07-42FB-7A5DD42755AB}"/>
          </ac:spMkLst>
        </pc:spChg>
        <pc:spChg chg="mod">
          <ac:chgData name="Kuo, Davian" userId="f0f04098-50d6-4562-8c6e-1bff3921f330" providerId="ADAL" clId="{F36DAA6F-23B3-4892-B3A8-F83F46406EB9}" dt="2025-03-21T06:55:25.753" v="4431" actId="20577"/>
          <ac:spMkLst>
            <pc:docMk/>
            <pc:sldMk cId="2700137176" sldId="2147473203"/>
            <ac:spMk id="3" creationId="{F890E2BD-699B-6862-88C5-0381C9F151EC}"/>
          </ac:spMkLst>
        </pc:spChg>
        <pc:spChg chg="del mod">
          <ac:chgData name="Kuo, Davian" userId="f0f04098-50d6-4562-8c6e-1bff3921f330" providerId="ADAL" clId="{F36DAA6F-23B3-4892-B3A8-F83F46406EB9}" dt="2025-03-20T09:13:49.841" v="1742" actId="478"/>
          <ac:spMkLst>
            <pc:docMk/>
            <pc:sldMk cId="2700137176" sldId="2147473203"/>
            <ac:spMk id="7" creationId="{37487E2E-87BB-9293-6BFA-D69BE16C77C0}"/>
          </ac:spMkLst>
        </pc:spChg>
        <pc:spChg chg="add del mod">
          <ac:chgData name="Kuo, Davian" userId="f0f04098-50d6-4562-8c6e-1bff3921f330" providerId="ADAL" clId="{F36DAA6F-23B3-4892-B3A8-F83F46406EB9}" dt="2025-03-20T09:32:09.052" v="2130" actId="478"/>
          <ac:spMkLst>
            <pc:docMk/>
            <pc:sldMk cId="2700137176" sldId="2147473203"/>
            <ac:spMk id="9" creationId="{402A2681-9AAE-A7FA-3CB1-27E28E9306E0}"/>
          </ac:spMkLst>
        </pc:spChg>
        <pc:spChg chg="del">
          <ac:chgData name="Kuo, Davian" userId="f0f04098-50d6-4562-8c6e-1bff3921f330" providerId="ADAL" clId="{F36DAA6F-23B3-4892-B3A8-F83F46406EB9}" dt="2025-03-20T09:13:44.315" v="1735" actId="478"/>
          <ac:spMkLst>
            <pc:docMk/>
            <pc:sldMk cId="2700137176" sldId="2147473203"/>
            <ac:spMk id="11" creationId="{6D517512-8247-5E10-89D2-931C6DB9ABDC}"/>
          </ac:spMkLst>
        </pc:spChg>
        <pc:spChg chg="add mod">
          <ac:chgData name="Kuo, Davian" userId="f0f04098-50d6-4562-8c6e-1bff3921f330" providerId="ADAL" clId="{F36DAA6F-23B3-4892-B3A8-F83F46406EB9}" dt="2025-03-20T09:32:53.921" v="2141" actId="14100"/>
          <ac:spMkLst>
            <pc:docMk/>
            <pc:sldMk cId="2700137176" sldId="2147473203"/>
            <ac:spMk id="12" creationId="{219229E7-A889-755C-8843-EE3705D7305B}"/>
          </ac:spMkLst>
        </pc:spChg>
        <pc:spChg chg="add del mod">
          <ac:chgData name="Kuo, Davian" userId="f0f04098-50d6-4562-8c6e-1bff3921f330" providerId="ADAL" clId="{F36DAA6F-23B3-4892-B3A8-F83F46406EB9}" dt="2025-03-20T09:36:22.312" v="2248" actId="478"/>
          <ac:spMkLst>
            <pc:docMk/>
            <pc:sldMk cId="2700137176" sldId="2147473203"/>
            <ac:spMk id="13" creationId="{327B1277-F94B-0ED4-FE92-1FE88D49C7A6}"/>
          </ac:spMkLst>
        </pc:spChg>
        <pc:spChg chg="add mod">
          <ac:chgData name="Kuo, Davian" userId="f0f04098-50d6-4562-8c6e-1bff3921f330" providerId="ADAL" clId="{F36DAA6F-23B3-4892-B3A8-F83F46406EB9}" dt="2025-03-21T07:33:14.348" v="5791" actId="207"/>
          <ac:spMkLst>
            <pc:docMk/>
            <pc:sldMk cId="2700137176" sldId="2147473203"/>
            <ac:spMk id="14" creationId="{93465FD8-384C-9D13-4CAB-C5F846E92848}"/>
          </ac:spMkLst>
        </pc:spChg>
        <pc:spChg chg="mod">
          <ac:chgData name="Kuo, Davian" userId="f0f04098-50d6-4562-8c6e-1bff3921f330" providerId="ADAL" clId="{F36DAA6F-23B3-4892-B3A8-F83F46406EB9}" dt="2025-03-21T06:57:19.904" v="4531" actId="20577"/>
          <ac:spMkLst>
            <pc:docMk/>
            <pc:sldMk cId="2700137176" sldId="2147473203"/>
            <ac:spMk id="21" creationId="{4586B88D-671B-766B-4AD6-1392D2AD3CEF}"/>
          </ac:spMkLst>
        </pc:spChg>
        <pc:spChg chg="del">
          <ac:chgData name="Kuo, Davian" userId="f0f04098-50d6-4562-8c6e-1bff3921f330" providerId="ADAL" clId="{F36DAA6F-23B3-4892-B3A8-F83F46406EB9}" dt="2025-03-20T09:13:45.038" v="1736" actId="478"/>
          <ac:spMkLst>
            <pc:docMk/>
            <pc:sldMk cId="2700137176" sldId="2147473203"/>
            <ac:spMk id="29" creationId="{45FD2B96-52C1-E385-FD74-3ADE727BC50D}"/>
          </ac:spMkLst>
        </pc:spChg>
        <pc:spChg chg="del">
          <ac:chgData name="Kuo, Davian" userId="f0f04098-50d6-4562-8c6e-1bff3921f330" providerId="ADAL" clId="{F36DAA6F-23B3-4892-B3A8-F83F46406EB9}" dt="2025-03-20T09:13:47.519" v="1739" actId="478"/>
          <ac:spMkLst>
            <pc:docMk/>
            <pc:sldMk cId="2700137176" sldId="2147473203"/>
            <ac:spMk id="41" creationId="{5C4D1EB6-B4CF-1808-0C99-22211DD68822}"/>
          </ac:spMkLst>
        </pc:spChg>
        <pc:picChg chg="add mod">
          <ac:chgData name="Kuo, Davian" userId="f0f04098-50d6-4562-8c6e-1bff3921f330" providerId="ADAL" clId="{F36DAA6F-23B3-4892-B3A8-F83F46406EB9}" dt="2025-03-20T09:29:35.103" v="1983" actId="1076"/>
          <ac:picMkLst>
            <pc:docMk/>
            <pc:sldMk cId="2700137176" sldId="2147473203"/>
            <ac:picMk id="8" creationId="{083FE9F0-9734-397E-E818-B948A74B7F5D}"/>
          </ac:picMkLst>
        </pc:picChg>
        <pc:picChg chg="del">
          <ac:chgData name="Kuo, Davian" userId="f0f04098-50d6-4562-8c6e-1bff3921f330" providerId="ADAL" clId="{F36DAA6F-23B3-4892-B3A8-F83F46406EB9}" dt="2025-03-20T09:13:42.808" v="1734" actId="478"/>
          <ac:picMkLst>
            <pc:docMk/>
            <pc:sldMk cId="2700137176" sldId="2147473203"/>
            <ac:picMk id="8" creationId="{7578268D-3AD8-841A-EBD1-2232560374BE}"/>
          </ac:picMkLst>
        </pc:picChg>
        <pc:picChg chg="add del mod">
          <ac:chgData name="Kuo, Davian" userId="f0f04098-50d6-4562-8c6e-1bff3921f330" providerId="ADAL" clId="{F36DAA6F-23B3-4892-B3A8-F83F46406EB9}" dt="2025-03-20T09:27:05.667" v="1966" actId="478"/>
          <ac:picMkLst>
            <pc:docMk/>
            <pc:sldMk cId="2700137176" sldId="2147473203"/>
            <ac:picMk id="12" creationId="{4785A5A5-7D12-F8BA-9EC3-F2FF7F7CC1E3}"/>
          </ac:picMkLst>
        </pc:picChg>
        <pc:picChg chg="add del mod">
          <ac:chgData name="Kuo, Davian" userId="f0f04098-50d6-4562-8c6e-1bff3921f330" providerId="ADAL" clId="{F36DAA6F-23B3-4892-B3A8-F83F46406EB9}" dt="2025-03-20T09:27:06.373" v="1967" actId="478"/>
          <ac:picMkLst>
            <pc:docMk/>
            <pc:sldMk cId="2700137176" sldId="2147473203"/>
            <ac:picMk id="15" creationId="{98B4A910-D177-5376-03DE-A8AF5868C45C}"/>
          </ac:picMkLst>
        </pc:picChg>
        <pc:picChg chg="add del">
          <ac:chgData name="Kuo, Davian" userId="f0f04098-50d6-4562-8c6e-1bff3921f330" providerId="ADAL" clId="{F36DAA6F-23B3-4892-B3A8-F83F46406EB9}" dt="2025-03-20T09:27:10.566" v="1969" actId="22"/>
          <ac:picMkLst>
            <pc:docMk/>
            <pc:sldMk cId="2700137176" sldId="2147473203"/>
            <ac:picMk id="17" creationId="{40B96984-EDCD-9191-A610-0389B4B3840A}"/>
          </ac:picMkLst>
        </pc:picChg>
        <pc:picChg chg="add mod">
          <ac:chgData name="Kuo, Davian" userId="f0f04098-50d6-4562-8c6e-1bff3921f330" providerId="ADAL" clId="{F36DAA6F-23B3-4892-B3A8-F83F46406EB9}" dt="2025-03-20T09:41:19.116" v="2360" actId="1076"/>
          <ac:picMkLst>
            <pc:docMk/>
            <pc:sldMk cId="2700137176" sldId="2147473203"/>
            <ac:picMk id="19" creationId="{C5957011-63AF-E0D1-491D-6114DB770552}"/>
          </ac:picMkLst>
        </pc:picChg>
        <pc:cxnChg chg="del mod">
          <ac:chgData name="Kuo, Davian" userId="f0f04098-50d6-4562-8c6e-1bff3921f330" providerId="ADAL" clId="{F36DAA6F-23B3-4892-B3A8-F83F46406EB9}" dt="2025-03-20T09:13:49.130" v="1741" actId="478"/>
          <ac:cxnSpMkLst>
            <pc:docMk/>
            <pc:sldMk cId="2700137176" sldId="2147473203"/>
            <ac:cxnSpMk id="9" creationId="{8567C8EB-5878-9CEC-6378-AE0E308B3EE2}"/>
          </ac:cxnSpMkLst>
        </pc:cxnChg>
        <pc:cxnChg chg="add mod">
          <ac:chgData name="Kuo, Davian" userId="f0f04098-50d6-4562-8c6e-1bff3921f330" providerId="ADAL" clId="{F36DAA6F-23B3-4892-B3A8-F83F46406EB9}" dt="2025-03-21T07:33:37.224" v="5794" actId="692"/>
          <ac:cxnSpMkLst>
            <pc:docMk/>
            <pc:sldMk cId="2700137176" sldId="2147473203"/>
            <ac:cxnSpMk id="11" creationId="{F4405C84-BB6D-6A3E-769F-38B5306939B9}"/>
          </ac:cxnSpMkLst>
        </pc:cxnChg>
        <pc:cxnChg chg="del">
          <ac:chgData name="Kuo, Davian" userId="f0f04098-50d6-4562-8c6e-1bff3921f330" providerId="ADAL" clId="{F36DAA6F-23B3-4892-B3A8-F83F46406EB9}" dt="2025-03-20T09:13:46.420" v="1738" actId="478"/>
          <ac:cxnSpMkLst>
            <pc:docMk/>
            <pc:sldMk cId="2700137176" sldId="2147473203"/>
            <ac:cxnSpMk id="14" creationId="{C0F4E256-61F8-FE96-0E69-CAA82B062FAE}"/>
          </ac:cxnSpMkLst>
        </pc:cxnChg>
        <pc:cxnChg chg="add mod">
          <ac:chgData name="Kuo, Davian" userId="f0f04098-50d6-4562-8c6e-1bff3921f330" providerId="ADAL" clId="{F36DAA6F-23B3-4892-B3A8-F83F46406EB9}" dt="2025-03-21T07:33:37.952" v="5795" actId="692"/>
          <ac:cxnSpMkLst>
            <pc:docMk/>
            <pc:sldMk cId="2700137176" sldId="2147473203"/>
            <ac:cxnSpMk id="15" creationId="{7446E387-85C2-CF67-6AAA-B2FBA7A6DE67}"/>
          </ac:cxnSpMkLst>
        </pc:cxnChg>
        <pc:cxnChg chg="add del mod">
          <ac:chgData name="Kuo, Davian" userId="f0f04098-50d6-4562-8c6e-1bff3921f330" providerId="ADAL" clId="{F36DAA6F-23B3-4892-B3A8-F83F46406EB9}" dt="2025-03-20T09:45:00.589" v="2459" actId="478"/>
          <ac:cxnSpMkLst>
            <pc:docMk/>
            <pc:sldMk cId="2700137176" sldId="2147473203"/>
            <ac:cxnSpMk id="24" creationId="{2E294AA4-024C-6F30-4C2C-F0517C16F5FE}"/>
          </ac:cxnSpMkLst>
        </pc:cxnChg>
        <pc:cxnChg chg="del mod">
          <ac:chgData name="Kuo, Davian" userId="f0f04098-50d6-4562-8c6e-1bff3921f330" providerId="ADAL" clId="{F36DAA6F-23B3-4892-B3A8-F83F46406EB9}" dt="2025-03-20T09:13:45.980" v="1737" actId="478"/>
          <ac:cxnSpMkLst>
            <pc:docMk/>
            <pc:sldMk cId="2700137176" sldId="2147473203"/>
            <ac:cxnSpMk id="26" creationId="{39D38FD9-DDD9-0BA5-3148-EC72EB327D5F}"/>
          </ac:cxnSpMkLst>
        </pc:cxnChg>
      </pc:sldChg>
      <pc:sldChg chg="modSp add del mod">
        <pc:chgData name="Kuo, Davian" userId="f0f04098-50d6-4562-8c6e-1bff3921f330" providerId="ADAL" clId="{F36DAA6F-23B3-4892-B3A8-F83F46406EB9}" dt="2025-03-20T10:20:51.238" v="4071" actId="47"/>
        <pc:sldMkLst>
          <pc:docMk/>
          <pc:sldMk cId="3246566968" sldId="2147473204"/>
        </pc:sldMkLst>
        <pc:spChg chg="mod">
          <ac:chgData name="Kuo, Davian" userId="f0f04098-50d6-4562-8c6e-1bff3921f330" providerId="ADAL" clId="{F36DAA6F-23B3-4892-B3A8-F83F46406EB9}" dt="2025-03-20T09:21:55.993" v="1840" actId="20577"/>
          <ac:spMkLst>
            <pc:docMk/>
            <pc:sldMk cId="3246566968" sldId="2147473204"/>
            <ac:spMk id="2" creationId="{3FFE1523-9A9C-662E-2CDF-F2886C8416CB}"/>
          </ac:spMkLst>
        </pc:spChg>
      </pc:sldChg>
      <pc:sldChg chg="modSp add del mod">
        <pc:chgData name="Kuo, Davian" userId="f0f04098-50d6-4562-8c6e-1bff3921f330" providerId="ADAL" clId="{F36DAA6F-23B3-4892-B3A8-F83F46406EB9}" dt="2025-03-20T10:20:47.200" v="4070" actId="47"/>
        <pc:sldMkLst>
          <pc:docMk/>
          <pc:sldMk cId="1998786270" sldId="2147473205"/>
        </pc:sldMkLst>
        <pc:spChg chg="mod">
          <ac:chgData name="Kuo, Davian" userId="f0f04098-50d6-4562-8c6e-1bff3921f330" providerId="ADAL" clId="{F36DAA6F-23B3-4892-B3A8-F83F46406EB9}" dt="2025-03-20T09:23:39.047" v="1881" actId="20577"/>
          <ac:spMkLst>
            <pc:docMk/>
            <pc:sldMk cId="1998786270" sldId="2147473205"/>
            <ac:spMk id="2" creationId="{CEF8C783-F15C-3A6B-8AED-D2C74E7ED154}"/>
          </ac:spMkLst>
        </pc:spChg>
      </pc:sldChg>
      <pc:sldChg chg="addSp delSp modSp add mod">
        <pc:chgData name="Kuo, Davian" userId="f0f04098-50d6-4562-8c6e-1bff3921f330" providerId="ADAL" clId="{F36DAA6F-23B3-4892-B3A8-F83F46406EB9}" dt="2025-03-21T07:34:54.476" v="5801" actId="692"/>
        <pc:sldMkLst>
          <pc:docMk/>
          <pc:sldMk cId="3331423207" sldId="2147473206"/>
        </pc:sldMkLst>
        <pc:spChg chg="mod">
          <ac:chgData name="Kuo, Davian" userId="f0f04098-50d6-4562-8c6e-1bff3921f330" providerId="ADAL" clId="{F36DAA6F-23B3-4892-B3A8-F83F46406EB9}" dt="2025-03-20T09:56:35.746" v="2905" actId="20577"/>
          <ac:spMkLst>
            <pc:docMk/>
            <pc:sldMk cId="3331423207" sldId="2147473206"/>
            <ac:spMk id="2" creationId="{4BBBBB58-7FC2-1F57-B136-DCAA76F6C619}"/>
          </ac:spMkLst>
        </pc:spChg>
        <pc:spChg chg="mod">
          <ac:chgData name="Kuo, Davian" userId="f0f04098-50d6-4562-8c6e-1bff3921f330" providerId="ADAL" clId="{F36DAA6F-23B3-4892-B3A8-F83F46406EB9}" dt="2025-03-21T06:55:37.993" v="4439" actId="20577"/>
          <ac:spMkLst>
            <pc:docMk/>
            <pc:sldMk cId="3331423207" sldId="2147473206"/>
            <ac:spMk id="3" creationId="{6418B81D-4598-8FF5-10F9-434DF289102F}"/>
          </ac:spMkLst>
        </pc:spChg>
        <pc:spChg chg="mod">
          <ac:chgData name="Kuo, Davian" userId="f0f04098-50d6-4562-8c6e-1bff3921f330" providerId="ADAL" clId="{F36DAA6F-23B3-4892-B3A8-F83F46406EB9}" dt="2025-03-20T09:43:04.832" v="2425" actId="14100"/>
          <ac:spMkLst>
            <pc:docMk/>
            <pc:sldMk cId="3331423207" sldId="2147473206"/>
            <ac:spMk id="12" creationId="{75F83F45-405D-C715-B9FF-618E903F0034}"/>
          </ac:spMkLst>
        </pc:spChg>
        <pc:spChg chg="add mod">
          <ac:chgData name="Kuo, Davian" userId="f0f04098-50d6-4562-8c6e-1bff3921f330" providerId="ADAL" clId="{F36DAA6F-23B3-4892-B3A8-F83F46406EB9}" dt="2025-03-20T09:43:24.552" v="2434" actId="1038"/>
          <ac:spMkLst>
            <pc:docMk/>
            <pc:sldMk cId="3331423207" sldId="2147473206"/>
            <ac:spMk id="13" creationId="{DEEB75D9-C66E-B00A-3007-486BAAF2A96F}"/>
          </ac:spMkLst>
        </pc:spChg>
        <pc:spChg chg="del">
          <ac:chgData name="Kuo, Davian" userId="f0f04098-50d6-4562-8c6e-1bff3921f330" providerId="ADAL" clId="{F36DAA6F-23B3-4892-B3A8-F83F46406EB9}" dt="2025-03-20T09:43:35.195" v="2437" actId="478"/>
          <ac:spMkLst>
            <pc:docMk/>
            <pc:sldMk cId="3331423207" sldId="2147473206"/>
            <ac:spMk id="14" creationId="{A60AD2A9-EFBF-3933-9F1E-1AB33F9B1A1D}"/>
          </ac:spMkLst>
        </pc:spChg>
        <pc:spChg chg="add mod">
          <ac:chgData name="Kuo, Davian" userId="f0f04098-50d6-4562-8c6e-1bff3921f330" providerId="ADAL" clId="{F36DAA6F-23B3-4892-B3A8-F83F46406EB9}" dt="2025-03-21T07:33:04.702" v="5789" actId="207"/>
          <ac:spMkLst>
            <pc:docMk/>
            <pc:sldMk cId="3331423207" sldId="2147473206"/>
            <ac:spMk id="15" creationId="{88F934D8-C462-8AC2-195C-D54B8040C62B}"/>
          </ac:spMkLst>
        </pc:spChg>
        <pc:spChg chg="add">
          <ac:chgData name="Kuo, Davian" userId="f0f04098-50d6-4562-8c6e-1bff3921f330" providerId="ADAL" clId="{F36DAA6F-23B3-4892-B3A8-F83F46406EB9}" dt="2025-03-20T09:54:31.165" v="2789"/>
          <ac:spMkLst>
            <pc:docMk/>
            <pc:sldMk cId="3331423207" sldId="2147473206"/>
            <ac:spMk id="18" creationId="{7DCBE83B-38F5-5A5F-DBF2-943315200680}"/>
          </ac:spMkLst>
        </pc:spChg>
        <pc:spChg chg="mod">
          <ac:chgData name="Kuo, Davian" userId="f0f04098-50d6-4562-8c6e-1bff3921f330" providerId="ADAL" clId="{F36DAA6F-23B3-4892-B3A8-F83F46406EB9}" dt="2025-03-21T06:58:01.586" v="4608" actId="20577"/>
          <ac:spMkLst>
            <pc:docMk/>
            <pc:sldMk cId="3331423207" sldId="2147473206"/>
            <ac:spMk id="21" creationId="{2B5E14ED-EB96-C075-5D10-C8B1EEBFE83D}"/>
          </ac:spMkLst>
        </pc:spChg>
        <pc:picChg chg="del">
          <ac:chgData name="Kuo, Davian" userId="f0f04098-50d6-4562-8c6e-1bff3921f330" providerId="ADAL" clId="{F36DAA6F-23B3-4892-B3A8-F83F46406EB9}" dt="2025-03-20T09:42:18.038" v="2414" actId="478"/>
          <ac:picMkLst>
            <pc:docMk/>
            <pc:sldMk cId="3331423207" sldId="2147473206"/>
            <ac:picMk id="8" creationId="{6B6BF0CF-C3F0-1CA5-A92C-1214C3278D82}"/>
          </ac:picMkLst>
        </pc:picChg>
        <pc:picChg chg="add mod ord">
          <ac:chgData name="Kuo, Davian" userId="f0f04098-50d6-4562-8c6e-1bff3921f330" providerId="ADAL" clId="{F36DAA6F-23B3-4892-B3A8-F83F46406EB9}" dt="2025-03-20T09:43:22.549" v="2433" actId="1076"/>
          <ac:picMkLst>
            <pc:docMk/>
            <pc:sldMk cId="3331423207" sldId="2147473206"/>
            <ac:picMk id="10" creationId="{21E4B674-FCBC-78FF-C67A-2CF77D280111}"/>
          </ac:picMkLst>
        </pc:picChg>
        <pc:picChg chg="del">
          <ac:chgData name="Kuo, Davian" userId="f0f04098-50d6-4562-8c6e-1bff3921f330" providerId="ADAL" clId="{F36DAA6F-23B3-4892-B3A8-F83F46406EB9}" dt="2025-03-20T09:42:19.841" v="2415" actId="478"/>
          <ac:picMkLst>
            <pc:docMk/>
            <pc:sldMk cId="3331423207" sldId="2147473206"/>
            <ac:picMk id="19" creationId="{64F711EE-6BDE-D06D-59A0-53731F58B706}"/>
          </ac:picMkLst>
        </pc:picChg>
        <pc:cxnChg chg="add mod">
          <ac:chgData name="Kuo, Davian" userId="f0f04098-50d6-4562-8c6e-1bff3921f330" providerId="ADAL" clId="{F36DAA6F-23B3-4892-B3A8-F83F46406EB9}" dt="2025-03-20T09:42:22.650" v="2416"/>
          <ac:cxnSpMkLst>
            <pc:docMk/>
            <pc:sldMk cId="3331423207" sldId="2147473206"/>
            <ac:cxnSpMk id="7" creationId="{ABC8CE2E-F32F-1D02-8629-78C76DAFBBA5}"/>
          </ac:cxnSpMkLst>
        </pc:cxnChg>
        <pc:cxnChg chg="del mod">
          <ac:chgData name="Kuo, Davian" userId="f0f04098-50d6-4562-8c6e-1bff3921f330" providerId="ADAL" clId="{F36DAA6F-23B3-4892-B3A8-F83F46406EB9}" dt="2025-03-20T09:43:32.715" v="2436" actId="478"/>
          <ac:cxnSpMkLst>
            <pc:docMk/>
            <pc:sldMk cId="3331423207" sldId="2147473206"/>
            <ac:cxnSpMk id="11" creationId="{4027F7B9-0027-32B1-E98C-3EF3D8396F70}"/>
          </ac:cxnSpMkLst>
        </pc:cxnChg>
        <pc:cxnChg chg="add mod">
          <ac:chgData name="Kuo, Davian" userId="f0f04098-50d6-4562-8c6e-1bff3921f330" providerId="ADAL" clId="{F36DAA6F-23B3-4892-B3A8-F83F46406EB9}" dt="2025-03-21T07:34:54.476" v="5801" actId="692"/>
          <ac:cxnSpMkLst>
            <pc:docMk/>
            <pc:sldMk cId="3331423207" sldId="2147473206"/>
            <ac:cxnSpMk id="16" creationId="{9D48566C-6101-F3E5-EE20-1EBC2B117A78}"/>
          </ac:cxnSpMkLst>
        </pc:cxnChg>
      </pc:sldChg>
      <pc:sldChg chg="addSp delSp modSp add mod">
        <pc:chgData name="Kuo, Davian" userId="f0f04098-50d6-4562-8c6e-1bff3921f330" providerId="ADAL" clId="{F36DAA6F-23B3-4892-B3A8-F83F46406EB9}" dt="2025-03-21T07:33:47.641" v="5796" actId="692"/>
        <pc:sldMkLst>
          <pc:docMk/>
          <pc:sldMk cId="274670306" sldId="2147473207"/>
        </pc:sldMkLst>
        <pc:spChg chg="mod">
          <ac:chgData name="Kuo, Davian" userId="f0f04098-50d6-4562-8c6e-1bff3921f330" providerId="ADAL" clId="{F36DAA6F-23B3-4892-B3A8-F83F46406EB9}" dt="2025-03-20T09:56:42.801" v="2925"/>
          <ac:spMkLst>
            <pc:docMk/>
            <pc:sldMk cId="274670306" sldId="2147473207"/>
            <ac:spMk id="2" creationId="{17FF67F3-B261-6EC1-313C-F56F9EE83359}"/>
          </ac:spMkLst>
        </pc:spChg>
        <pc:spChg chg="mod">
          <ac:chgData name="Kuo, Davian" userId="f0f04098-50d6-4562-8c6e-1bff3921f330" providerId="ADAL" clId="{F36DAA6F-23B3-4892-B3A8-F83F46406EB9}" dt="2025-03-21T06:58:31.129" v="4618" actId="20577"/>
          <ac:spMkLst>
            <pc:docMk/>
            <pc:sldMk cId="274670306" sldId="2147473207"/>
            <ac:spMk id="3" creationId="{739A728B-04CE-E592-3AA1-487AED349009}"/>
          </ac:spMkLst>
        </pc:spChg>
        <pc:spChg chg="del mod">
          <ac:chgData name="Kuo, Davian" userId="f0f04098-50d6-4562-8c6e-1bff3921f330" providerId="ADAL" clId="{F36DAA6F-23B3-4892-B3A8-F83F46406EB9}" dt="2025-03-20T10:03:00.540" v="3163" actId="478"/>
          <ac:spMkLst>
            <pc:docMk/>
            <pc:sldMk cId="274670306" sldId="2147473207"/>
            <ac:spMk id="12" creationId="{0C574506-BC90-5F3C-BB64-1ABB51F4AB80}"/>
          </ac:spMkLst>
        </pc:spChg>
        <pc:spChg chg="del">
          <ac:chgData name="Kuo, Davian" userId="f0f04098-50d6-4562-8c6e-1bff3921f330" providerId="ADAL" clId="{F36DAA6F-23B3-4892-B3A8-F83F46406EB9}" dt="2025-03-20T10:03:02.819" v="3164" actId="478"/>
          <ac:spMkLst>
            <pc:docMk/>
            <pc:sldMk cId="274670306" sldId="2147473207"/>
            <ac:spMk id="13" creationId="{70F45B65-B178-F7ED-D9FB-17701682836F}"/>
          </ac:spMkLst>
        </pc:spChg>
        <pc:spChg chg="mod">
          <ac:chgData name="Kuo, Davian" userId="f0f04098-50d6-4562-8c6e-1bff3921f330" providerId="ADAL" clId="{F36DAA6F-23B3-4892-B3A8-F83F46406EB9}" dt="2025-03-21T07:32:50.385" v="5787" actId="207"/>
          <ac:spMkLst>
            <pc:docMk/>
            <pc:sldMk cId="274670306" sldId="2147473207"/>
            <ac:spMk id="15" creationId="{D7E7D732-1079-9CA3-C58F-C4882B544E39}"/>
          </ac:spMkLst>
        </pc:spChg>
        <pc:spChg chg="mod">
          <ac:chgData name="Kuo, Davian" userId="f0f04098-50d6-4562-8c6e-1bff3921f330" providerId="ADAL" clId="{F36DAA6F-23B3-4892-B3A8-F83F46406EB9}" dt="2025-03-21T07:00:26.121" v="4673" actId="20577"/>
          <ac:spMkLst>
            <pc:docMk/>
            <pc:sldMk cId="274670306" sldId="2147473207"/>
            <ac:spMk id="21" creationId="{47B1F04D-8AAF-A330-AEB0-CFAA8156AB53}"/>
          </ac:spMkLst>
        </pc:spChg>
        <pc:picChg chg="add del mod">
          <ac:chgData name="Kuo, Davian" userId="f0f04098-50d6-4562-8c6e-1bff3921f330" providerId="ADAL" clId="{F36DAA6F-23B3-4892-B3A8-F83F46406EB9}" dt="2025-03-20T10:01:44.006" v="3097" actId="21"/>
          <ac:picMkLst>
            <pc:docMk/>
            <pc:sldMk cId="274670306" sldId="2147473207"/>
            <ac:picMk id="8" creationId="{55D09262-0CE6-1DEA-3750-1F338BE3D1C5}"/>
          </ac:picMkLst>
        </pc:picChg>
        <pc:picChg chg="add mod ord">
          <ac:chgData name="Kuo, Davian" userId="f0f04098-50d6-4562-8c6e-1bff3921f330" providerId="ADAL" clId="{F36DAA6F-23B3-4892-B3A8-F83F46406EB9}" dt="2025-03-20T10:02:54.115" v="3162" actId="1076"/>
          <ac:picMkLst>
            <pc:docMk/>
            <pc:sldMk cId="274670306" sldId="2147473207"/>
            <ac:picMk id="9" creationId="{55D09262-0CE6-1DEA-3750-1F338BE3D1C5}"/>
          </ac:picMkLst>
        </pc:picChg>
        <pc:picChg chg="add del">
          <ac:chgData name="Kuo, Davian" userId="f0f04098-50d6-4562-8c6e-1bff3921f330" providerId="ADAL" clId="{F36DAA6F-23B3-4892-B3A8-F83F46406EB9}" dt="2025-03-20T10:01:45.488" v="3098" actId="478"/>
          <ac:picMkLst>
            <pc:docMk/>
            <pc:sldMk cId="274670306" sldId="2147473207"/>
            <ac:picMk id="10" creationId="{45E6BF95-4A9D-EF3D-2F26-15656C18BFDA}"/>
          </ac:picMkLst>
        </pc:picChg>
        <pc:cxnChg chg="mod">
          <ac:chgData name="Kuo, Davian" userId="f0f04098-50d6-4562-8c6e-1bff3921f330" providerId="ADAL" clId="{F36DAA6F-23B3-4892-B3A8-F83F46406EB9}" dt="2025-03-21T07:33:47.641" v="5796" actId="692"/>
          <ac:cxnSpMkLst>
            <pc:docMk/>
            <pc:sldMk cId="274670306" sldId="2147473207"/>
            <ac:cxnSpMk id="16" creationId="{DA078D58-9620-7B36-8D46-72D1FC63DFDA}"/>
          </ac:cxnSpMkLst>
        </pc:cxnChg>
      </pc:sldChg>
      <pc:sldChg chg="addSp delSp modSp add mod">
        <pc:chgData name="Kuo, Davian" userId="f0f04098-50d6-4562-8c6e-1bff3921f330" providerId="ADAL" clId="{F36DAA6F-23B3-4892-B3A8-F83F46406EB9}" dt="2025-03-21T07:36:32.158" v="5822" actId="14100"/>
        <pc:sldMkLst>
          <pc:docMk/>
          <pc:sldMk cId="259577733" sldId="2147473208"/>
        </pc:sldMkLst>
        <pc:spChg chg="mod">
          <ac:chgData name="Kuo, Davian" userId="f0f04098-50d6-4562-8c6e-1bff3921f330" providerId="ADAL" clId="{F36DAA6F-23B3-4892-B3A8-F83F46406EB9}" dt="2025-03-20T10:20:20.090" v="4069" actId="20577"/>
          <ac:spMkLst>
            <pc:docMk/>
            <pc:sldMk cId="259577733" sldId="2147473208"/>
            <ac:spMk id="3" creationId="{82257343-1312-94B2-2619-3B3F6CCD8485}"/>
          </ac:spMkLst>
        </pc:spChg>
        <pc:spChg chg="add mod">
          <ac:chgData name="Kuo, Davian" userId="f0f04098-50d6-4562-8c6e-1bff3921f330" providerId="ADAL" clId="{F36DAA6F-23B3-4892-B3A8-F83F46406EB9}" dt="2025-03-20T10:14:13.807" v="3818" actId="14100"/>
          <ac:spMkLst>
            <pc:docMk/>
            <pc:sldMk cId="259577733" sldId="2147473208"/>
            <ac:spMk id="11" creationId="{DF1CF8B5-E824-2FF0-3307-8F327B724B5D}"/>
          </ac:spMkLst>
        </pc:spChg>
        <pc:spChg chg="add mod">
          <ac:chgData name="Kuo, Davian" userId="f0f04098-50d6-4562-8c6e-1bff3921f330" providerId="ADAL" clId="{F36DAA6F-23B3-4892-B3A8-F83F46406EB9}" dt="2025-03-21T07:36:29.154" v="5821" actId="1038"/>
          <ac:spMkLst>
            <pc:docMk/>
            <pc:sldMk cId="259577733" sldId="2147473208"/>
            <ac:spMk id="12" creationId="{BCF0C8DA-1F8D-7C46-F93F-D3A7FADDFF6C}"/>
          </ac:spMkLst>
        </pc:spChg>
        <pc:spChg chg="del mod">
          <ac:chgData name="Kuo, Davian" userId="f0f04098-50d6-4562-8c6e-1bff3921f330" providerId="ADAL" clId="{F36DAA6F-23B3-4892-B3A8-F83F46406EB9}" dt="2025-03-20T10:13:44.845" v="3804" actId="478"/>
          <ac:spMkLst>
            <pc:docMk/>
            <pc:sldMk cId="259577733" sldId="2147473208"/>
            <ac:spMk id="15" creationId="{7BA3D262-3262-E80A-7583-36F6B671288D}"/>
          </ac:spMkLst>
        </pc:spChg>
        <pc:spChg chg="mod">
          <ac:chgData name="Kuo, Davian" userId="f0f04098-50d6-4562-8c6e-1bff3921f330" providerId="ADAL" clId="{F36DAA6F-23B3-4892-B3A8-F83F46406EB9}" dt="2025-03-21T07:14:21.393" v="4983" actId="20577"/>
          <ac:spMkLst>
            <pc:docMk/>
            <pc:sldMk cId="259577733" sldId="2147473208"/>
            <ac:spMk id="21" creationId="{7DED617F-C8B4-D3B8-99FA-8DB7F9C6A217}"/>
          </ac:spMkLst>
        </pc:spChg>
        <pc:picChg chg="add del mod">
          <ac:chgData name="Kuo, Davian" userId="f0f04098-50d6-4562-8c6e-1bff3921f330" providerId="ADAL" clId="{F36DAA6F-23B3-4892-B3A8-F83F46406EB9}" dt="2025-03-20T10:13:09.565" v="3796" actId="21"/>
          <ac:picMkLst>
            <pc:docMk/>
            <pc:sldMk cId="259577733" sldId="2147473208"/>
            <ac:picMk id="8" creationId="{57010383-9253-50EF-8C6E-5166E3E3E42F}"/>
          </ac:picMkLst>
        </pc:picChg>
        <pc:picChg chg="del">
          <ac:chgData name="Kuo, Davian" userId="f0f04098-50d6-4562-8c6e-1bff3921f330" providerId="ADAL" clId="{F36DAA6F-23B3-4892-B3A8-F83F46406EB9}" dt="2025-03-20T10:13:10.805" v="3797" actId="478"/>
          <ac:picMkLst>
            <pc:docMk/>
            <pc:sldMk cId="259577733" sldId="2147473208"/>
            <ac:picMk id="9" creationId="{F4A2AA06-CB36-27E1-E434-FE17873621F0}"/>
          </ac:picMkLst>
        </pc:picChg>
        <pc:picChg chg="add mod ord">
          <ac:chgData name="Kuo, Davian" userId="f0f04098-50d6-4562-8c6e-1bff3921f330" providerId="ADAL" clId="{F36DAA6F-23B3-4892-B3A8-F83F46406EB9}" dt="2025-03-20T10:13:20.494" v="3802" actId="167"/>
          <ac:picMkLst>
            <pc:docMk/>
            <pc:sldMk cId="259577733" sldId="2147473208"/>
            <ac:picMk id="10" creationId="{57010383-9253-50EF-8C6E-5166E3E3E42F}"/>
          </ac:picMkLst>
        </pc:picChg>
        <pc:picChg chg="add mod">
          <ac:chgData name="Kuo, Davian" userId="f0f04098-50d6-4562-8c6e-1bff3921f330" providerId="ADAL" clId="{F36DAA6F-23B3-4892-B3A8-F83F46406EB9}" dt="2025-03-21T07:14:30.375" v="4985" actId="1076"/>
          <ac:picMkLst>
            <pc:docMk/>
            <pc:sldMk cId="259577733" sldId="2147473208"/>
            <ac:picMk id="17" creationId="{5B66EA1A-1ED2-1199-1C61-BA593A909BC4}"/>
          </ac:picMkLst>
        </pc:picChg>
        <pc:picChg chg="add mod">
          <ac:chgData name="Kuo, Davian" userId="f0f04098-50d6-4562-8c6e-1bff3921f330" providerId="ADAL" clId="{F36DAA6F-23B3-4892-B3A8-F83F46406EB9}" dt="2025-03-21T07:14:26.466" v="4984" actId="1076"/>
          <ac:picMkLst>
            <pc:docMk/>
            <pc:sldMk cId="259577733" sldId="2147473208"/>
            <ac:picMk id="18" creationId="{476F02D1-02D2-4ACA-F2D4-9120DBF02E7F}"/>
          </ac:picMkLst>
        </pc:picChg>
        <pc:cxnChg chg="add mod">
          <ac:chgData name="Kuo, Davian" userId="f0f04098-50d6-4562-8c6e-1bff3921f330" providerId="ADAL" clId="{F36DAA6F-23B3-4892-B3A8-F83F46406EB9}" dt="2025-03-21T07:36:32.158" v="5822" actId="14100"/>
          <ac:cxnSpMkLst>
            <pc:docMk/>
            <pc:sldMk cId="259577733" sldId="2147473208"/>
            <ac:cxnSpMk id="7" creationId="{FE169F57-AD33-9EFA-D4C0-604A8DE504CB}"/>
          </ac:cxnSpMkLst>
        </pc:cxnChg>
        <pc:cxnChg chg="del mod">
          <ac:chgData name="Kuo, Davian" userId="f0f04098-50d6-4562-8c6e-1bff3921f330" providerId="ADAL" clId="{F36DAA6F-23B3-4892-B3A8-F83F46406EB9}" dt="2025-03-20T10:14:45.945" v="3828" actId="478"/>
          <ac:cxnSpMkLst>
            <pc:docMk/>
            <pc:sldMk cId="259577733" sldId="2147473208"/>
            <ac:cxnSpMk id="16" creationId="{1F3728F1-599D-2277-626D-3C3E787F7E6F}"/>
          </ac:cxnSpMkLst>
        </pc:cxnChg>
      </pc:sldChg>
      <pc:sldChg chg="addSp delSp modSp add mod">
        <pc:chgData name="Kuo, Davian" userId="f0f04098-50d6-4562-8c6e-1bff3921f330" providerId="ADAL" clId="{F36DAA6F-23B3-4892-B3A8-F83F46406EB9}" dt="2025-03-21T07:35:32.853" v="5805" actId="478"/>
        <pc:sldMkLst>
          <pc:docMk/>
          <pc:sldMk cId="109399644" sldId="2147473209"/>
        </pc:sldMkLst>
        <pc:spChg chg="mod">
          <ac:chgData name="Kuo, Davian" userId="f0f04098-50d6-4562-8c6e-1bff3921f330" providerId="ADAL" clId="{F36DAA6F-23B3-4892-B3A8-F83F46406EB9}" dt="2025-03-21T07:16:37.781" v="5006"/>
          <ac:spMkLst>
            <pc:docMk/>
            <pc:sldMk cId="109399644" sldId="2147473209"/>
            <ac:spMk id="2" creationId="{EFA96DB9-24A1-B741-108D-4652EF52EE96}"/>
          </ac:spMkLst>
        </pc:spChg>
        <pc:spChg chg="mod">
          <ac:chgData name="Kuo, Davian" userId="f0f04098-50d6-4562-8c6e-1bff3921f330" providerId="ADAL" clId="{F36DAA6F-23B3-4892-B3A8-F83F46406EB9}" dt="2025-03-21T07:30:32.257" v="5759"/>
          <ac:spMkLst>
            <pc:docMk/>
            <pc:sldMk cId="109399644" sldId="2147473209"/>
            <ac:spMk id="3" creationId="{DE6EBB9F-238A-E329-0716-7D494051BB15}"/>
          </ac:spMkLst>
        </pc:spChg>
        <pc:spChg chg="del">
          <ac:chgData name="Kuo, Davian" userId="f0f04098-50d6-4562-8c6e-1bff3921f330" providerId="ADAL" clId="{F36DAA6F-23B3-4892-B3A8-F83F46406EB9}" dt="2025-03-21T07:17:37.439" v="5066" actId="478"/>
          <ac:spMkLst>
            <pc:docMk/>
            <pc:sldMk cId="109399644" sldId="2147473209"/>
            <ac:spMk id="7" creationId="{251D658B-3C6C-49B9-F5DD-9B2799230CD2}"/>
          </ac:spMkLst>
        </pc:spChg>
        <pc:spChg chg="del">
          <ac:chgData name="Kuo, Davian" userId="f0f04098-50d6-4562-8c6e-1bff3921f330" providerId="ADAL" clId="{F36DAA6F-23B3-4892-B3A8-F83F46406EB9}" dt="2025-03-21T07:17:33.334" v="5062" actId="478"/>
          <ac:spMkLst>
            <pc:docMk/>
            <pc:sldMk cId="109399644" sldId="2147473209"/>
            <ac:spMk id="11" creationId="{62153F5C-F42F-7652-101F-B87544BA523D}"/>
          </ac:spMkLst>
        </pc:spChg>
        <pc:spChg chg="add mod">
          <ac:chgData name="Kuo, Davian" userId="f0f04098-50d6-4562-8c6e-1bff3921f330" providerId="ADAL" clId="{F36DAA6F-23B3-4892-B3A8-F83F46406EB9}" dt="2025-03-21T07:27:07.050" v="5702" actId="1036"/>
          <ac:spMkLst>
            <pc:docMk/>
            <pc:sldMk cId="109399644" sldId="2147473209"/>
            <ac:spMk id="13" creationId="{ACCE7797-5405-8B12-D5AA-28A4EB17FEFF}"/>
          </ac:spMkLst>
        </pc:spChg>
        <pc:spChg chg="add del mod">
          <ac:chgData name="Kuo, Davian" userId="f0f04098-50d6-4562-8c6e-1bff3921f330" providerId="ADAL" clId="{F36DAA6F-23B3-4892-B3A8-F83F46406EB9}" dt="2025-03-21T07:35:32.853" v="5805" actId="478"/>
          <ac:spMkLst>
            <pc:docMk/>
            <pc:sldMk cId="109399644" sldId="2147473209"/>
            <ac:spMk id="17" creationId="{CAFD42F2-F094-9D76-D53D-AAEB972C3287}"/>
          </ac:spMkLst>
        </pc:spChg>
        <pc:spChg chg="mod">
          <ac:chgData name="Kuo, Davian" userId="f0f04098-50d6-4562-8c6e-1bff3921f330" providerId="ADAL" clId="{F36DAA6F-23B3-4892-B3A8-F83F46406EB9}" dt="2025-03-21T07:31:49.735" v="5784" actId="20577"/>
          <ac:spMkLst>
            <pc:docMk/>
            <pc:sldMk cId="109399644" sldId="2147473209"/>
            <ac:spMk id="21" creationId="{8DBA7249-8B1E-2EB9-26BF-81FC91F491D1}"/>
          </ac:spMkLst>
        </pc:spChg>
        <pc:spChg chg="mod">
          <ac:chgData name="Kuo, Davian" userId="f0f04098-50d6-4562-8c6e-1bff3921f330" providerId="ADAL" clId="{F36DAA6F-23B3-4892-B3A8-F83F46406EB9}" dt="2025-03-21T07:17:14.944" v="5014" actId="1038"/>
          <ac:spMkLst>
            <pc:docMk/>
            <pc:sldMk cId="109399644" sldId="2147473209"/>
            <ac:spMk id="29" creationId="{52256148-512F-9CBF-C78E-D2A0774380EE}"/>
          </ac:spMkLst>
        </pc:spChg>
        <pc:spChg chg="del">
          <ac:chgData name="Kuo, Davian" userId="f0f04098-50d6-4562-8c6e-1bff3921f330" providerId="ADAL" clId="{F36DAA6F-23B3-4892-B3A8-F83F46406EB9}" dt="2025-03-21T07:17:35.536" v="5064" actId="478"/>
          <ac:spMkLst>
            <pc:docMk/>
            <pc:sldMk cId="109399644" sldId="2147473209"/>
            <ac:spMk id="41" creationId="{696CB6BC-E7C6-D34B-97D7-276FE35D459E}"/>
          </ac:spMkLst>
        </pc:spChg>
        <pc:picChg chg="del">
          <ac:chgData name="Kuo, Davian" userId="f0f04098-50d6-4562-8c6e-1bff3921f330" providerId="ADAL" clId="{F36DAA6F-23B3-4892-B3A8-F83F46406EB9}" dt="2025-03-21T07:16:18.495" v="4994" actId="478"/>
          <ac:picMkLst>
            <pc:docMk/>
            <pc:sldMk cId="109399644" sldId="2147473209"/>
            <ac:picMk id="8" creationId="{8E981A8C-ACCD-328B-87FE-9C90E553B5DB}"/>
          </ac:picMkLst>
        </pc:picChg>
        <pc:picChg chg="add del mod">
          <ac:chgData name="Kuo, Davian" userId="f0f04098-50d6-4562-8c6e-1bff3921f330" providerId="ADAL" clId="{F36DAA6F-23B3-4892-B3A8-F83F46406EB9}" dt="2025-03-21T07:16:16.731" v="4993" actId="21"/>
          <ac:picMkLst>
            <pc:docMk/>
            <pc:sldMk cId="109399644" sldId="2147473209"/>
            <ac:picMk id="10" creationId="{FB13380B-D9A6-8D34-CE31-EB6B71E30B05}"/>
          </ac:picMkLst>
        </pc:picChg>
        <pc:picChg chg="add mod ord">
          <ac:chgData name="Kuo, Davian" userId="f0f04098-50d6-4562-8c6e-1bff3921f330" providerId="ADAL" clId="{F36DAA6F-23B3-4892-B3A8-F83F46406EB9}" dt="2025-03-21T07:16:59.088" v="5009" actId="1076"/>
          <ac:picMkLst>
            <pc:docMk/>
            <pc:sldMk cId="109399644" sldId="2147473209"/>
            <ac:picMk id="12" creationId="{FB13380B-D9A6-8D34-CE31-EB6B71E30B05}"/>
          </ac:picMkLst>
        </pc:picChg>
        <pc:picChg chg="add mod">
          <ac:chgData name="Kuo, Davian" userId="f0f04098-50d6-4562-8c6e-1bff3921f330" providerId="ADAL" clId="{F36DAA6F-23B3-4892-B3A8-F83F46406EB9}" dt="2025-03-21T07:28:50.556" v="5712" actId="1076"/>
          <ac:picMkLst>
            <pc:docMk/>
            <pc:sldMk cId="109399644" sldId="2147473209"/>
            <ac:picMk id="16" creationId="{8A509342-D71E-1CDD-D997-274C1B9ACF0A}"/>
          </ac:picMkLst>
        </pc:picChg>
        <pc:cxnChg chg="del mod">
          <ac:chgData name="Kuo, Davian" userId="f0f04098-50d6-4562-8c6e-1bff3921f330" providerId="ADAL" clId="{F36DAA6F-23B3-4892-B3A8-F83F46406EB9}" dt="2025-03-21T07:17:38.257" v="5067" actId="478"/>
          <ac:cxnSpMkLst>
            <pc:docMk/>
            <pc:sldMk cId="109399644" sldId="2147473209"/>
            <ac:cxnSpMk id="9" creationId="{C6F37A34-5EAA-D59A-F034-264C4693B6D7}"/>
          </ac:cxnSpMkLst>
        </pc:cxnChg>
        <pc:cxnChg chg="del">
          <ac:chgData name="Kuo, Davian" userId="f0f04098-50d6-4562-8c6e-1bff3921f330" providerId="ADAL" clId="{F36DAA6F-23B3-4892-B3A8-F83F46406EB9}" dt="2025-03-21T07:17:36.463" v="5065" actId="478"/>
          <ac:cxnSpMkLst>
            <pc:docMk/>
            <pc:sldMk cId="109399644" sldId="2147473209"/>
            <ac:cxnSpMk id="14" creationId="{8B5BA603-7DDB-7BB9-8EBC-2D8895158A72}"/>
          </ac:cxnSpMkLst>
        </pc:cxnChg>
        <pc:cxnChg chg="del mod">
          <ac:chgData name="Kuo, Davian" userId="f0f04098-50d6-4562-8c6e-1bff3921f330" providerId="ADAL" clId="{F36DAA6F-23B3-4892-B3A8-F83F46406EB9}" dt="2025-03-21T07:17:34.167" v="5063" actId="478"/>
          <ac:cxnSpMkLst>
            <pc:docMk/>
            <pc:sldMk cId="109399644" sldId="2147473209"/>
            <ac:cxnSpMk id="26" creationId="{DFAD7A66-F7B4-9450-C5A4-EDEB0CDC69BE}"/>
          </ac:cxnSpMkLst>
        </pc:cxnChg>
      </pc:sldChg>
      <pc:sldChg chg="addSp modSp new del mod">
        <pc:chgData name="Kuo, Davian" userId="f0f04098-50d6-4562-8c6e-1bff3921f330" providerId="ADAL" clId="{F36DAA6F-23B3-4892-B3A8-F83F46406EB9}" dt="2025-03-21T05:51:24.682" v="4097" actId="47"/>
        <pc:sldMkLst>
          <pc:docMk/>
          <pc:sldMk cId="1334397949" sldId="2147473209"/>
        </pc:sldMkLst>
        <pc:spChg chg="add mod">
          <ac:chgData name="Kuo, Davian" userId="f0f04098-50d6-4562-8c6e-1bff3921f330" providerId="ADAL" clId="{F36DAA6F-23B3-4892-B3A8-F83F46406EB9}" dt="2025-03-21T05:48:15.525" v="4096" actId="14100"/>
          <ac:spMkLst>
            <pc:docMk/>
            <pc:sldMk cId="1334397949" sldId="2147473209"/>
            <ac:spMk id="11" creationId="{4E828265-EBB1-2856-504E-199026721CD5}"/>
          </ac:spMkLst>
        </pc:spChg>
        <pc:picChg chg="add mod">
          <ac:chgData name="Kuo, Davian" userId="f0f04098-50d6-4562-8c6e-1bff3921f330" providerId="ADAL" clId="{F36DAA6F-23B3-4892-B3A8-F83F46406EB9}" dt="2025-03-21T05:48:03.049" v="4092" actId="14100"/>
          <ac:picMkLst>
            <pc:docMk/>
            <pc:sldMk cId="1334397949" sldId="2147473209"/>
            <ac:picMk id="15" creationId="{D3DE7D91-EF9B-BF8C-4114-9A3EDA51CB1D}"/>
          </ac:picMkLst>
        </pc:picChg>
      </pc:sldChg>
      <pc:sldChg chg="addSp delSp modSp add mod">
        <pc:chgData name="Kuo, Davian" userId="f0f04098-50d6-4562-8c6e-1bff3921f330" providerId="ADAL" clId="{F36DAA6F-23B3-4892-B3A8-F83F46406EB9}" dt="2025-03-21T07:38:43.381" v="5973" actId="20577"/>
        <pc:sldMkLst>
          <pc:docMk/>
          <pc:sldMk cId="2271695486" sldId="2147473210"/>
        </pc:sldMkLst>
        <pc:spChg chg="mod">
          <ac:chgData name="Kuo, Davian" userId="f0f04098-50d6-4562-8c6e-1bff3921f330" providerId="ADAL" clId="{F36DAA6F-23B3-4892-B3A8-F83F46406EB9}" dt="2025-03-21T07:30:12.385" v="5753" actId="20577"/>
          <ac:spMkLst>
            <pc:docMk/>
            <pc:sldMk cId="2271695486" sldId="2147473210"/>
            <ac:spMk id="2" creationId="{FBA60590-E7AD-512C-2361-38688DA5C2E7}"/>
          </ac:spMkLst>
        </pc:spChg>
        <pc:spChg chg="mod">
          <ac:chgData name="Kuo, Davian" userId="f0f04098-50d6-4562-8c6e-1bff3921f330" providerId="ADAL" clId="{F36DAA6F-23B3-4892-B3A8-F83F46406EB9}" dt="2025-03-21T07:30:37.019" v="5763"/>
          <ac:spMkLst>
            <pc:docMk/>
            <pc:sldMk cId="2271695486" sldId="2147473210"/>
            <ac:spMk id="3" creationId="{BD7DA4D5-A009-5BB3-5487-BBC4F1EBA3CC}"/>
          </ac:spMkLst>
        </pc:spChg>
        <pc:spChg chg="del">
          <ac:chgData name="Kuo, Davian" userId="f0f04098-50d6-4562-8c6e-1bff3921f330" providerId="ADAL" clId="{F36DAA6F-23B3-4892-B3A8-F83F46406EB9}" dt="2025-03-21T07:31:22.756" v="5776" actId="478"/>
          <ac:spMkLst>
            <pc:docMk/>
            <pc:sldMk cId="2271695486" sldId="2147473210"/>
            <ac:spMk id="13" creationId="{13DBBDFD-3C70-B7A8-87B1-6A0793FD6CC9}"/>
          </ac:spMkLst>
        </pc:spChg>
        <pc:spChg chg="mod">
          <ac:chgData name="Kuo, Davian" userId="f0f04098-50d6-4562-8c6e-1bff3921f330" providerId="ADAL" clId="{F36DAA6F-23B3-4892-B3A8-F83F46406EB9}" dt="2025-03-21T07:38:43.381" v="5973" actId="20577"/>
          <ac:spMkLst>
            <pc:docMk/>
            <pc:sldMk cId="2271695486" sldId="2147473210"/>
            <ac:spMk id="21" creationId="{6EDA953B-4CE2-1156-490C-A2FE62921188}"/>
          </ac:spMkLst>
        </pc:spChg>
        <pc:spChg chg="del">
          <ac:chgData name="Kuo, Davian" userId="f0f04098-50d6-4562-8c6e-1bff3921f330" providerId="ADAL" clId="{F36DAA6F-23B3-4892-B3A8-F83F46406EB9}" dt="2025-03-21T07:31:24.328" v="5777" actId="478"/>
          <ac:spMkLst>
            <pc:docMk/>
            <pc:sldMk cId="2271695486" sldId="2147473210"/>
            <ac:spMk id="29" creationId="{AD088130-427B-3729-A339-5BC06C1D18F1}"/>
          </ac:spMkLst>
        </pc:spChg>
        <pc:picChg chg="add del mod">
          <ac:chgData name="Kuo, Davian" userId="f0f04098-50d6-4562-8c6e-1bff3921f330" providerId="ADAL" clId="{F36DAA6F-23B3-4892-B3A8-F83F46406EB9}" dt="2025-03-21T07:31:13.833" v="5771" actId="21"/>
          <ac:picMkLst>
            <pc:docMk/>
            <pc:sldMk cId="2271695486" sldId="2147473210"/>
            <ac:picMk id="8" creationId="{3CA77D03-FADB-2376-B5E5-0FAAC0204F6E}"/>
          </ac:picMkLst>
        </pc:picChg>
        <pc:picChg chg="add mod ord">
          <ac:chgData name="Kuo, Davian" userId="f0f04098-50d6-4562-8c6e-1bff3921f330" providerId="ADAL" clId="{F36DAA6F-23B3-4892-B3A8-F83F46406EB9}" dt="2025-03-21T07:31:20.038" v="5775" actId="167"/>
          <ac:picMkLst>
            <pc:docMk/>
            <pc:sldMk cId="2271695486" sldId="2147473210"/>
            <ac:picMk id="9" creationId="{3CA77D03-FADB-2376-B5E5-0FAAC0204F6E}"/>
          </ac:picMkLst>
        </pc:picChg>
        <pc:picChg chg="del">
          <ac:chgData name="Kuo, Davian" userId="f0f04098-50d6-4562-8c6e-1bff3921f330" providerId="ADAL" clId="{F36DAA6F-23B3-4892-B3A8-F83F46406EB9}" dt="2025-03-21T07:31:16.345" v="5773" actId="478"/>
          <ac:picMkLst>
            <pc:docMk/>
            <pc:sldMk cId="2271695486" sldId="2147473210"/>
            <ac:picMk id="12" creationId="{6E026E0F-7ECE-72EF-8CB1-55966A82CC1A}"/>
          </ac:picMkLst>
        </pc:picChg>
        <pc:picChg chg="del">
          <ac:chgData name="Kuo, Davian" userId="f0f04098-50d6-4562-8c6e-1bff3921f330" providerId="ADAL" clId="{F36DAA6F-23B3-4892-B3A8-F83F46406EB9}" dt="2025-03-21T07:31:15.309" v="5772" actId="478"/>
          <ac:picMkLst>
            <pc:docMk/>
            <pc:sldMk cId="2271695486" sldId="2147473210"/>
            <ac:picMk id="16" creationId="{6FD9684A-20AA-2D6E-9634-0805658D51A5}"/>
          </ac:picMkLst>
        </pc:picChg>
      </pc:sldChg>
      <pc:sldChg chg="addSp delSp modSp add mod">
        <pc:chgData name="Kuo, Davian" userId="f0f04098-50d6-4562-8c6e-1bff3921f330" providerId="ADAL" clId="{F36DAA6F-23B3-4892-B3A8-F83F46406EB9}" dt="2025-03-21T08:45:25.152" v="7914" actId="20577"/>
        <pc:sldMkLst>
          <pc:docMk/>
          <pc:sldMk cId="3874059113" sldId="2147473211"/>
        </pc:sldMkLst>
        <pc:spChg chg="mod">
          <ac:chgData name="Kuo, Davian" userId="f0f04098-50d6-4562-8c6e-1bff3921f330" providerId="ADAL" clId="{F36DAA6F-23B3-4892-B3A8-F83F46406EB9}" dt="2025-03-21T07:41:34.983" v="5992" actId="20577"/>
          <ac:spMkLst>
            <pc:docMk/>
            <pc:sldMk cId="3874059113" sldId="2147473211"/>
            <ac:spMk id="2" creationId="{B12D1C88-D460-ED03-BF8C-8239775BDCA6}"/>
          </ac:spMkLst>
        </pc:spChg>
        <pc:spChg chg="mod">
          <ac:chgData name="Kuo, Davian" userId="f0f04098-50d6-4562-8c6e-1bff3921f330" providerId="ADAL" clId="{F36DAA6F-23B3-4892-B3A8-F83F46406EB9}" dt="2025-03-21T08:08:34.156" v="6595" actId="20577"/>
          <ac:spMkLst>
            <pc:docMk/>
            <pc:sldMk cId="3874059113" sldId="2147473211"/>
            <ac:spMk id="3" creationId="{FA8F1A20-226C-441B-1EAD-CDF593017842}"/>
          </ac:spMkLst>
        </pc:spChg>
        <pc:spChg chg="add del mod">
          <ac:chgData name="Kuo, Davian" userId="f0f04098-50d6-4562-8c6e-1bff3921f330" providerId="ADAL" clId="{F36DAA6F-23B3-4892-B3A8-F83F46406EB9}" dt="2025-03-21T08:04:42.735" v="6477" actId="478"/>
          <ac:spMkLst>
            <pc:docMk/>
            <pc:sldMk cId="3874059113" sldId="2147473211"/>
            <ac:spMk id="11" creationId="{21F5B3E3-F0E7-46EE-F26A-2DF9A763F02A}"/>
          </ac:spMkLst>
        </pc:spChg>
        <pc:spChg chg="add del mod">
          <ac:chgData name="Kuo, Davian" userId="f0f04098-50d6-4562-8c6e-1bff3921f330" providerId="ADAL" clId="{F36DAA6F-23B3-4892-B3A8-F83F46406EB9}" dt="2025-03-21T08:04:43.867" v="6478" actId="478"/>
          <ac:spMkLst>
            <pc:docMk/>
            <pc:sldMk cId="3874059113" sldId="2147473211"/>
            <ac:spMk id="12" creationId="{B397330A-7345-2731-4514-0ECA0376A85A}"/>
          </ac:spMkLst>
        </pc:spChg>
        <pc:spChg chg="add mod">
          <ac:chgData name="Kuo, Davian" userId="f0f04098-50d6-4562-8c6e-1bff3921f330" providerId="ADAL" clId="{F36DAA6F-23B3-4892-B3A8-F83F46406EB9}" dt="2025-03-21T08:16:37.985" v="6750" actId="14100"/>
          <ac:spMkLst>
            <pc:docMk/>
            <pc:sldMk cId="3874059113" sldId="2147473211"/>
            <ac:spMk id="13" creationId="{036730C3-F52B-AAFC-C36A-C4DA3DB3D951}"/>
          </ac:spMkLst>
        </pc:spChg>
        <pc:spChg chg="add mod">
          <ac:chgData name="Kuo, Davian" userId="f0f04098-50d6-4562-8c6e-1bff3921f330" providerId="ADAL" clId="{F36DAA6F-23B3-4892-B3A8-F83F46406EB9}" dt="2025-03-21T08:18:20.533" v="6769" actId="14100"/>
          <ac:spMkLst>
            <pc:docMk/>
            <pc:sldMk cId="3874059113" sldId="2147473211"/>
            <ac:spMk id="18" creationId="{FC9D4095-F004-A535-7A11-5AABD138C4E3}"/>
          </ac:spMkLst>
        </pc:spChg>
        <pc:spChg chg="mod">
          <ac:chgData name="Kuo, Davian" userId="f0f04098-50d6-4562-8c6e-1bff3921f330" providerId="ADAL" clId="{F36DAA6F-23B3-4892-B3A8-F83F46406EB9}" dt="2025-03-21T08:44:34.622" v="7859" actId="20577"/>
          <ac:spMkLst>
            <pc:docMk/>
            <pc:sldMk cId="3874059113" sldId="2147473211"/>
            <ac:spMk id="21" creationId="{CCE53781-F6A5-B9A7-CA53-FD65C0003664}"/>
          </ac:spMkLst>
        </pc:spChg>
        <pc:spChg chg="add del mod">
          <ac:chgData name="Kuo, Davian" userId="f0f04098-50d6-4562-8c6e-1bff3921f330" providerId="ADAL" clId="{F36DAA6F-23B3-4892-B3A8-F83F46406EB9}" dt="2025-03-21T08:04:46.517" v="6479" actId="478"/>
          <ac:spMkLst>
            <pc:docMk/>
            <pc:sldMk cId="3874059113" sldId="2147473211"/>
            <ac:spMk id="28" creationId="{7635E83E-225A-B354-862F-EB4C85F59ADB}"/>
          </ac:spMkLst>
        </pc:spChg>
        <pc:spChg chg="add mod">
          <ac:chgData name="Kuo, Davian" userId="f0f04098-50d6-4562-8c6e-1bff3921f330" providerId="ADAL" clId="{F36DAA6F-23B3-4892-B3A8-F83F46406EB9}" dt="2025-03-21T08:16:43.760" v="6751" actId="14100"/>
          <ac:spMkLst>
            <pc:docMk/>
            <pc:sldMk cId="3874059113" sldId="2147473211"/>
            <ac:spMk id="29" creationId="{F40D8E1F-B424-3FD7-6117-F1618D70E430}"/>
          </ac:spMkLst>
        </pc:spChg>
        <pc:spChg chg="add del mod">
          <ac:chgData name="Kuo, Davian" userId="f0f04098-50d6-4562-8c6e-1bff3921f330" providerId="ADAL" clId="{F36DAA6F-23B3-4892-B3A8-F83F46406EB9}" dt="2025-03-21T08:05:04.437" v="6480" actId="478"/>
          <ac:spMkLst>
            <pc:docMk/>
            <pc:sldMk cId="3874059113" sldId="2147473211"/>
            <ac:spMk id="35" creationId="{24218E3B-C2D5-6491-4D20-A389E45BB0D5}"/>
          </ac:spMkLst>
        </pc:spChg>
        <pc:spChg chg="add mod">
          <ac:chgData name="Kuo, Davian" userId="f0f04098-50d6-4562-8c6e-1bff3921f330" providerId="ADAL" clId="{F36DAA6F-23B3-4892-B3A8-F83F46406EB9}" dt="2025-03-21T08:45:25.152" v="7914" actId="20577"/>
          <ac:spMkLst>
            <pc:docMk/>
            <pc:sldMk cId="3874059113" sldId="2147473211"/>
            <ac:spMk id="36" creationId="{DFF3BC36-09A3-6E2A-0544-E14E628ED7D1}"/>
          </ac:spMkLst>
        </pc:spChg>
        <pc:spChg chg="add del mod">
          <ac:chgData name="Kuo, Davian" userId="f0f04098-50d6-4562-8c6e-1bff3921f330" providerId="ADAL" clId="{F36DAA6F-23B3-4892-B3A8-F83F46406EB9}" dt="2025-03-21T08:04:33.966" v="6476" actId="478"/>
          <ac:spMkLst>
            <pc:docMk/>
            <pc:sldMk cId="3874059113" sldId="2147473211"/>
            <ac:spMk id="42" creationId="{4C14BF41-665A-F4E3-1F23-300A12B261B3}"/>
          </ac:spMkLst>
        </pc:spChg>
        <pc:spChg chg="add mod">
          <ac:chgData name="Kuo, Davian" userId="f0f04098-50d6-4562-8c6e-1bff3921f330" providerId="ADAL" clId="{F36DAA6F-23B3-4892-B3A8-F83F46406EB9}" dt="2025-03-21T08:11:17.357" v="6696" actId="1076"/>
          <ac:spMkLst>
            <pc:docMk/>
            <pc:sldMk cId="3874059113" sldId="2147473211"/>
            <ac:spMk id="43" creationId="{8274595A-6D4A-10A0-A17C-1D9631199105}"/>
          </ac:spMkLst>
        </pc:spChg>
        <pc:spChg chg="add del mod">
          <ac:chgData name="Kuo, Davian" userId="f0f04098-50d6-4562-8c6e-1bff3921f330" providerId="ADAL" clId="{F36DAA6F-23B3-4892-B3A8-F83F46406EB9}" dt="2025-03-21T08:04:26.403" v="6472" actId="478"/>
          <ac:spMkLst>
            <pc:docMk/>
            <pc:sldMk cId="3874059113" sldId="2147473211"/>
            <ac:spMk id="49" creationId="{51310986-5D4B-C54C-9397-9A2E4DF34C57}"/>
          </ac:spMkLst>
        </pc:spChg>
        <pc:spChg chg="add del mod">
          <ac:chgData name="Kuo, Davian" userId="f0f04098-50d6-4562-8c6e-1bff3921f330" providerId="ADAL" clId="{F36DAA6F-23B3-4892-B3A8-F83F46406EB9}" dt="2025-03-21T08:04:30.750" v="6475" actId="478"/>
          <ac:spMkLst>
            <pc:docMk/>
            <pc:sldMk cId="3874059113" sldId="2147473211"/>
            <ac:spMk id="50" creationId="{BAECA936-6E25-4E2F-2E53-F2746665F3B2}"/>
          </ac:spMkLst>
        </pc:spChg>
        <pc:spChg chg="add del mod">
          <ac:chgData name="Kuo, Davian" userId="f0f04098-50d6-4562-8c6e-1bff3921f330" providerId="ADAL" clId="{F36DAA6F-23B3-4892-B3A8-F83F46406EB9}" dt="2025-03-21T08:04:22.558" v="6471" actId="478"/>
          <ac:spMkLst>
            <pc:docMk/>
            <pc:sldMk cId="3874059113" sldId="2147473211"/>
            <ac:spMk id="57" creationId="{45687ACD-37CD-72BB-8CAE-8B98A562A26E}"/>
          </ac:spMkLst>
        </pc:spChg>
        <pc:spChg chg="add del mod">
          <ac:chgData name="Kuo, Davian" userId="f0f04098-50d6-4562-8c6e-1bff3921f330" providerId="ADAL" clId="{F36DAA6F-23B3-4892-B3A8-F83F46406EB9}" dt="2025-03-21T08:17:23.472" v="6752" actId="478"/>
          <ac:spMkLst>
            <pc:docMk/>
            <pc:sldMk cId="3874059113" sldId="2147473211"/>
            <ac:spMk id="60" creationId="{0C15D90C-A280-8CFC-ED4C-5ED4B9A2686B}"/>
          </ac:spMkLst>
        </pc:spChg>
        <pc:spChg chg="add">
          <ac:chgData name="Kuo, Davian" userId="f0f04098-50d6-4562-8c6e-1bff3921f330" providerId="ADAL" clId="{F36DAA6F-23B3-4892-B3A8-F83F46406EB9}" dt="2025-03-21T07:53:15.873" v="6234"/>
          <ac:spMkLst>
            <pc:docMk/>
            <pc:sldMk cId="3874059113" sldId="2147473211"/>
            <ac:spMk id="65" creationId="{AF8A8A52-BD78-C666-6380-590AE98FE5E1}"/>
          </ac:spMkLst>
        </pc:spChg>
        <pc:spChg chg="add mod">
          <ac:chgData name="Kuo, Davian" userId="f0f04098-50d6-4562-8c6e-1bff3921f330" providerId="ADAL" clId="{F36DAA6F-23B3-4892-B3A8-F83F46406EB9}" dt="2025-03-21T08:18:41.589" v="6772" actId="11"/>
          <ac:spMkLst>
            <pc:docMk/>
            <pc:sldMk cId="3874059113" sldId="2147473211"/>
            <ac:spMk id="76" creationId="{79206241-3080-CCE8-B417-BB11AE1151B9}"/>
          </ac:spMkLst>
        </pc:spChg>
        <pc:spChg chg="add mod">
          <ac:chgData name="Kuo, Davian" userId="f0f04098-50d6-4562-8c6e-1bff3921f330" providerId="ADAL" clId="{F36DAA6F-23B3-4892-B3A8-F83F46406EB9}" dt="2025-03-21T08:18:49.639" v="6773" actId="11"/>
          <ac:spMkLst>
            <pc:docMk/>
            <pc:sldMk cId="3874059113" sldId="2147473211"/>
            <ac:spMk id="83" creationId="{B87BECBC-F874-9286-3E39-CEF125D43108}"/>
          </ac:spMkLst>
        </pc:spChg>
        <pc:spChg chg="add mod">
          <ac:chgData name="Kuo, Davian" userId="f0f04098-50d6-4562-8c6e-1bff3921f330" providerId="ADAL" clId="{F36DAA6F-23B3-4892-B3A8-F83F46406EB9}" dt="2025-03-21T08:25:41.558" v="7285" actId="1076"/>
          <ac:spMkLst>
            <pc:docMk/>
            <pc:sldMk cId="3874059113" sldId="2147473211"/>
            <ac:spMk id="90" creationId="{5D4C3035-192D-0B51-4E21-617DE8A8DF15}"/>
          </ac:spMkLst>
        </pc:spChg>
        <pc:spChg chg="add del mod">
          <ac:chgData name="Kuo, Davian" userId="f0f04098-50d6-4562-8c6e-1bff3921f330" providerId="ADAL" clId="{F36DAA6F-23B3-4892-B3A8-F83F46406EB9}" dt="2025-03-21T08:04:15.072" v="6469" actId="478"/>
          <ac:spMkLst>
            <pc:docMk/>
            <pc:sldMk cId="3874059113" sldId="2147473211"/>
            <ac:spMk id="92" creationId="{77E4361D-17E2-3493-50DC-7C3B43180B68}"/>
          </ac:spMkLst>
        </pc:spChg>
        <pc:spChg chg="add del mod">
          <ac:chgData name="Kuo, Davian" userId="f0f04098-50d6-4562-8c6e-1bff3921f330" providerId="ADAL" clId="{F36DAA6F-23B3-4892-B3A8-F83F46406EB9}" dt="2025-03-21T07:57:31.286" v="6343" actId="478"/>
          <ac:spMkLst>
            <pc:docMk/>
            <pc:sldMk cId="3874059113" sldId="2147473211"/>
            <ac:spMk id="93" creationId="{ACD92F59-7313-F78D-048C-7ACAEEDAA27C}"/>
          </ac:spMkLst>
        </pc:spChg>
        <pc:spChg chg="add del mod">
          <ac:chgData name="Kuo, Davian" userId="f0f04098-50d6-4562-8c6e-1bff3921f330" providerId="ADAL" clId="{F36DAA6F-23B3-4892-B3A8-F83F46406EB9}" dt="2025-03-21T08:04:16.295" v="6470" actId="478"/>
          <ac:spMkLst>
            <pc:docMk/>
            <pc:sldMk cId="3874059113" sldId="2147473211"/>
            <ac:spMk id="94" creationId="{E056A9BF-6121-16A0-C795-DF69880E8D5D}"/>
          </ac:spMkLst>
        </pc:spChg>
        <pc:spChg chg="add mod">
          <ac:chgData name="Kuo, Davian" userId="f0f04098-50d6-4562-8c6e-1bff3921f330" providerId="ADAL" clId="{F36DAA6F-23B3-4892-B3A8-F83F46406EB9}" dt="2025-03-21T08:19:21.525" v="6779" actId="11"/>
          <ac:spMkLst>
            <pc:docMk/>
            <pc:sldMk cId="3874059113" sldId="2147473211"/>
            <ac:spMk id="98" creationId="{CCF444F6-BE00-61AF-083A-C781F1DA3C8D}"/>
          </ac:spMkLst>
        </pc:spChg>
        <pc:spChg chg="add del mod">
          <ac:chgData name="Kuo, Davian" userId="f0f04098-50d6-4562-8c6e-1bff3921f330" providerId="ADAL" clId="{F36DAA6F-23B3-4892-B3A8-F83F46406EB9}" dt="2025-03-21T08:18:58.792" v="6775" actId="478"/>
          <ac:spMkLst>
            <pc:docMk/>
            <pc:sldMk cId="3874059113" sldId="2147473211"/>
            <ac:spMk id="123" creationId="{BF62FA57-C8D5-9191-F613-1F7B79DDF35D}"/>
          </ac:spMkLst>
        </pc:spChg>
        <pc:picChg chg="add del mod">
          <ac:chgData name="Kuo, Davian" userId="f0f04098-50d6-4562-8c6e-1bff3921f330" providerId="ADAL" clId="{F36DAA6F-23B3-4892-B3A8-F83F46406EB9}" dt="2025-03-21T07:42:39.958" v="6016" actId="21"/>
          <ac:picMkLst>
            <pc:docMk/>
            <pc:sldMk cId="3874059113" sldId="2147473211"/>
            <ac:picMk id="8" creationId="{27220C35-7FCF-D1D6-6B5C-0C2A32CF12D2}"/>
          </ac:picMkLst>
        </pc:picChg>
        <pc:picChg chg="del">
          <ac:chgData name="Kuo, Davian" userId="f0f04098-50d6-4562-8c6e-1bff3921f330" providerId="ADAL" clId="{F36DAA6F-23B3-4892-B3A8-F83F46406EB9}" dt="2025-03-21T07:42:41.104" v="6017" actId="478"/>
          <ac:picMkLst>
            <pc:docMk/>
            <pc:sldMk cId="3874059113" sldId="2147473211"/>
            <ac:picMk id="9" creationId="{051367C6-5FA0-202B-EE58-86DA9552B485}"/>
          </ac:picMkLst>
        </pc:picChg>
        <pc:picChg chg="add del mod">
          <ac:chgData name="Kuo, Davian" userId="f0f04098-50d6-4562-8c6e-1bff3921f330" providerId="ADAL" clId="{F36DAA6F-23B3-4892-B3A8-F83F46406EB9}" dt="2025-03-21T07:51:09.871" v="6213" actId="478"/>
          <ac:picMkLst>
            <pc:docMk/>
            <pc:sldMk cId="3874059113" sldId="2147473211"/>
            <ac:picMk id="10" creationId="{27220C35-7FCF-D1D6-6B5C-0C2A32CF12D2}"/>
          </ac:picMkLst>
        </pc:picChg>
        <pc:picChg chg="add del mod">
          <ac:chgData name="Kuo, Davian" userId="f0f04098-50d6-4562-8c6e-1bff3921f330" providerId="ADAL" clId="{F36DAA6F-23B3-4892-B3A8-F83F46406EB9}" dt="2025-03-21T07:51:08.421" v="6212" actId="21"/>
          <ac:picMkLst>
            <pc:docMk/>
            <pc:sldMk cId="3874059113" sldId="2147473211"/>
            <ac:picMk id="55" creationId="{F0A2DE22-1971-135A-A8FE-AAA6CB92A4B3}"/>
          </ac:picMkLst>
        </pc:picChg>
        <pc:picChg chg="add del mod ord">
          <ac:chgData name="Kuo, Davian" userId="f0f04098-50d6-4562-8c6e-1bff3921f330" providerId="ADAL" clId="{F36DAA6F-23B3-4892-B3A8-F83F46406EB9}" dt="2025-03-21T08:14:41.133" v="6742" actId="1076"/>
          <ac:picMkLst>
            <pc:docMk/>
            <pc:sldMk cId="3874059113" sldId="2147473211"/>
            <ac:picMk id="56" creationId="{F0A2DE22-1971-135A-A8FE-AAA6CB92A4B3}"/>
          </ac:picMkLst>
        </pc:picChg>
        <pc:cxnChg chg="add mod">
          <ac:chgData name="Kuo, Davian" userId="f0f04098-50d6-4562-8c6e-1bff3921f330" providerId="ADAL" clId="{F36DAA6F-23B3-4892-B3A8-F83F46406EB9}" dt="2025-03-21T08:16:37.985" v="6750" actId="14100"/>
          <ac:cxnSpMkLst>
            <pc:docMk/>
            <pc:sldMk cId="3874059113" sldId="2147473211"/>
            <ac:cxnSpMk id="14" creationId="{9EB616A0-5DD2-42B9-EC15-676FCA4D8516}"/>
          </ac:cxnSpMkLst>
        </pc:cxnChg>
        <pc:cxnChg chg="add mod">
          <ac:chgData name="Kuo, Davian" userId="f0f04098-50d6-4562-8c6e-1bff3921f330" providerId="ADAL" clId="{F36DAA6F-23B3-4892-B3A8-F83F46406EB9}" dt="2025-03-21T08:18:20.533" v="6769" actId="14100"/>
          <ac:cxnSpMkLst>
            <pc:docMk/>
            <pc:sldMk cId="3874059113" sldId="2147473211"/>
            <ac:cxnSpMk id="19" creationId="{D057D236-E656-A75F-5801-68472E822852}"/>
          </ac:cxnSpMkLst>
        </pc:cxnChg>
        <pc:cxnChg chg="add mod">
          <ac:chgData name="Kuo, Davian" userId="f0f04098-50d6-4562-8c6e-1bff3921f330" providerId="ADAL" clId="{F36DAA6F-23B3-4892-B3A8-F83F46406EB9}" dt="2025-03-21T08:16:43.760" v="6751" actId="14100"/>
          <ac:cxnSpMkLst>
            <pc:docMk/>
            <pc:sldMk cId="3874059113" sldId="2147473211"/>
            <ac:cxnSpMk id="30" creationId="{919C7440-2CA9-98E1-4583-992CD59EC3E4}"/>
          </ac:cxnSpMkLst>
        </pc:cxnChg>
        <pc:cxnChg chg="add mod">
          <ac:chgData name="Kuo, Davian" userId="f0f04098-50d6-4562-8c6e-1bff3921f330" providerId="ADAL" clId="{F36DAA6F-23B3-4892-B3A8-F83F46406EB9}" dt="2025-03-21T08:18:29.154" v="6771" actId="14100"/>
          <ac:cxnSpMkLst>
            <pc:docMk/>
            <pc:sldMk cId="3874059113" sldId="2147473211"/>
            <ac:cxnSpMk id="37" creationId="{0EB10561-2DC9-C582-E96F-64DC06EB44CA}"/>
          </ac:cxnSpMkLst>
        </pc:cxnChg>
        <pc:cxnChg chg="add mod">
          <ac:chgData name="Kuo, Davian" userId="f0f04098-50d6-4562-8c6e-1bff3921f330" providerId="ADAL" clId="{F36DAA6F-23B3-4892-B3A8-F83F46406EB9}" dt="2025-03-21T08:11:17.357" v="6696" actId="1076"/>
          <ac:cxnSpMkLst>
            <pc:docMk/>
            <pc:sldMk cId="3874059113" sldId="2147473211"/>
            <ac:cxnSpMk id="44" creationId="{419F0554-64A7-B0B7-A85E-05EC584ED3FA}"/>
          </ac:cxnSpMkLst>
        </pc:cxnChg>
        <pc:cxnChg chg="add del mod">
          <ac:chgData name="Kuo, Davian" userId="f0f04098-50d6-4562-8c6e-1bff3921f330" providerId="ADAL" clId="{F36DAA6F-23B3-4892-B3A8-F83F46406EB9}" dt="2025-03-21T08:17:25.424" v="6754" actId="478"/>
          <ac:cxnSpMkLst>
            <pc:docMk/>
            <pc:sldMk cId="3874059113" sldId="2147473211"/>
            <ac:cxnSpMk id="61" creationId="{CFF0DAC2-ED91-BFE3-B3E4-9FA21A3A58AE}"/>
          </ac:cxnSpMkLst>
        </pc:cxnChg>
        <pc:cxnChg chg="add mod">
          <ac:chgData name="Kuo, Davian" userId="f0f04098-50d6-4562-8c6e-1bff3921f330" providerId="ADAL" clId="{F36DAA6F-23B3-4892-B3A8-F83F46406EB9}" dt="2025-03-21T08:17:36.997" v="6758" actId="14100"/>
          <ac:cxnSpMkLst>
            <pc:docMk/>
            <pc:sldMk cId="3874059113" sldId="2147473211"/>
            <ac:cxnSpMk id="77" creationId="{73802E98-3D4A-8F19-0E8D-100932F5E847}"/>
          </ac:cxnSpMkLst>
        </pc:cxnChg>
        <pc:cxnChg chg="add mod">
          <ac:chgData name="Kuo, Davian" userId="f0f04098-50d6-4562-8c6e-1bff3921f330" providerId="ADAL" clId="{F36DAA6F-23B3-4892-B3A8-F83F46406EB9}" dt="2025-03-21T08:17:54.650" v="6762" actId="14100"/>
          <ac:cxnSpMkLst>
            <pc:docMk/>
            <pc:sldMk cId="3874059113" sldId="2147473211"/>
            <ac:cxnSpMk id="84" creationId="{1A7FC11C-D929-3913-D4CD-85F0BA51D1A1}"/>
          </ac:cxnSpMkLst>
        </pc:cxnChg>
        <pc:cxnChg chg="add mod">
          <ac:chgData name="Kuo, Davian" userId="f0f04098-50d6-4562-8c6e-1bff3921f330" providerId="ADAL" clId="{F36DAA6F-23B3-4892-B3A8-F83F46406EB9}" dt="2025-03-21T08:25:45.645" v="7286" actId="1076"/>
          <ac:cxnSpMkLst>
            <pc:docMk/>
            <pc:sldMk cId="3874059113" sldId="2147473211"/>
            <ac:cxnSpMk id="91" creationId="{6C1C3A70-78A3-725C-56EA-F86ECB48E45E}"/>
          </ac:cxnSpMkLst>
        </pc:cxnChg>
        <pc:cxnChg chg="add mod">
          <ac:chgData name="Kuo, Davian" userId="f0f04098-50d6-4562-8c6e-1bff3921f330" providerId="ADAL" clId="{F36DAA6F-23B3-4892-B3A8-F83F46406EB9}" dt="2025-03-21T08:14:57.659" v="6745" actId="14100"/>
          <ac:cxnSpMkLst>
            <pc:docMk/>
            <pc:sldMk cId="3874059113" sldId="2147473211"/>
            <ac:cxnSpMk id="99" creationId="{30BF97D5-4EF2-2673-EB4E-086D1982437F}"/>
          </ac:cxnSpMkLst>
        </pc:cxnChg>
        <pc:cxnChg chg="add del mod">
          <ac:chgData name="Kuo, Davian" userId="f0f04098-50d6-4562-8c6e-1bff3921f330" providerId="ADAL" clId="{F36DAA6F-23B3-4892-B3A8-F83F46406EB9}" dt="2025-03-21T08:18:59.548" v="6776" actId="478"/>
          <ac:cxnSpMkLst>
            <pc:docMk/>
            <pc:sldMk cId="3874059113" sldId="2147473211"/>
            <ac:cxnSpMk id="124" creationId="{8189141A-0CF3-021D-7A62-12FCED4B9AE0}"/>
          </ac:cxnSpMkLst>
        </pc:cxnChg>
      </pc:sldChg>
      <pc:sldChg chg="addSp delSp modSp add mod">
        <pc:chgData name="Kuo, Davian" userId="f0f04098-50d6-4562-8c6e-1bff3921f330" providerId="ADAL" clId="{F36DAA6F-23B3-4892-B3A8-F83F46406EB9}" dt="2025-03-21T08:43:34.522" v="7824" actId="692"/>
        <pc:sldMkLst>
          <pc:docMk/>
          <pc:sldMk cId="2212782253" sldId="2147473212"/>
        </pc:sldMkLst>
        <pc:spChg chg="mod">
          <ac:chgData name="Kuo, Davian" userId="f0f04098-50d6-4562-8c6e-1bff3921f330" providerId="ADAL" clId="{F36DAA6F-23B3-4892-B3A8-F83F46406EB9}" dt="2025-03-21T08:34:44.686" v="7521" actId="20577"/>
          <ac:spMkLst>
            <pc:docMk/>
            <pc:sldMk cId="2212782253" sldId="2147473212"/>
            <ac:spMk id="3" creationId="{52482CC0-FB6A-19BA-CAE2-FB38D5B9383C}"/>
          </ac:spMkLst>
        </pc:spChg>
        <pc:spChg chg="add mod">
          <ac:chgData name="Kuo, Davian" userId="f0f04098-50d6-4562-8c6e-1bff3921f330" providerId="ADAL" clId="{F36DAA6F-23B3-4892-B3A8-F83F46406EB9}" dt="2025-03-21T08:39:09.196" v="7778" actId="1038"/>
          <ac:spMkLst>
            <pc:docMk/>
            <pc:sldMk cId="2212782253" sldId="2147473212"/>
            <ac:spMk id="10" creationId="{F709FD9A-A466-471B-01CD-327602C71FF9}"/>
          </ac:spMkLst>
        </pc:spChg>
        <pc:spChg chg="del">
          <ac:chgData name="Kuo, Davian" userId="f0f04098-50d6-4562-8c6e-1bff3921f330" providerId="ADAL" clId="{F36DAA6F-23B3-4892-B3A8-F83F46406EB9}" dt="2025-03-21T08:34:25.217" v="7507" actId="478"/>
          <ac:spMkLst>
            <pc:docMk/>
            <pc:sldMk cId="2212782253" sldId="2147473212"/>
            <ac:spMk id="13" creationId="{150875A4-0866-A0BB-AD08-E5843D112950}"/>
          </ac:spMkLst>
        </pc:spChg>
        <pc:spChg chg="add del mod">
          <ac:chgData name="Kuo, Davian" userId="f0f04098-50d6-4562-8c6e-1bff3921f330" providerId="ADAL" clId="{F36DAA6F-23B3-4892-B3A8-F83F46406EB9}" dt="2025-03-21T08:38:37.804" v="7741" actId="478"/>
          <ac:spMkLst>
            <pc:docMk/>
            <pc:sldMk cId="2212782253" sldId="2147473212"/>
            <ac:spMk id="16" creationId="{CECB99E0-8701-996B-E5CE-CF3863D3D4C0}"/>
          </ac:spMkLst>
        </pc:spChg>
        <pc:spChg chg="add mod">
          <ac:chgData name="Kuo, Davian" userId="f0f04098-50d6-4562-8c6e-1bff3921f330" providerId="ADAL" clId="{F36DAA6F-23B3-4892-B3A8-F83F46406EB9}" dt="2025-03-21T08:40:01.124" v="7787" actId="1076"/>
          <ac:spMkLst>
            <pc:docMk/>
            <pc:sldMk cId="2212782253" sldId="2147473212"/>
            <ac:spMk id="17" creationId="{CDDACCD5-5E29-08E8-A15D-8C5C7E589E02}"/>
          </ac:spMkLst>
        </pc:spChg>
        <pc:spChg chg="mod">
          <ac:chgData name="Kuo, Davian" userId="f0f04098-50d6-4562-8c6e-1bff3921f330" providerId="ADAL" clId="{F36DAA6F-23B3-4892-B3A8-F83F46406EB9}" dt="2025-03-21T08:38:58.280" v="7773" actId="1038"/>
          <ac:spMkLst>
            <pc:docMk/>
            <pc:sldMk cId="2212782253" sldId="2147473212"/>
            <ac:spMk id="21" creationId="{FFF38762-FAD8-F932-E5EC-EE47F8AB543A}"/>
          </ac:spMkLst>
        </pc:spChg>
        <pc:spChg chg="del">
          <ac:chgData name="Kuo, Davian" userId="f0f04098-50d6-4562-8c6e-1bff3921f330" providerId="ADAL" clId="{F36DAA6F-23B3-4892-B3A8-F83F46406EB9}" dt="2025-03-21T08:34:27.150" v="7509" actId="478"/>
          <ac:spMkLst>
            <pc:docMk/>
            <pc:sldMk cId="2212782253" sldId="2147473212"/>
            <ac:spMk id="29" creationId="{67D72698-D556-0607-31F9-AEFD2462F10E}"/>
          </ac:spMkLst>
        </pc:spChg>
        <pc:spChg chg="del">
          <ac:chgData name="Kuo, Davian" userId="f0f04098-50d6-4562-8c6e-1bff3921f330" providerId="ADAL" clId="{F36DAA6F-23B3-4892-B3A8-F83F46406EB9}" dt="2025-03-21T08:35:18.932" v="7534" actId="478"/>
          <ac:spMkLst>
            <pc:docMk/>
            <pc:sldMk cId="2212782253" sldId="2147473212"/>
            <ac:spMk id="36" creationId="{06E70F15-E52E-DE42-E5C2-548692C50E83}"/>
          </ac:spMkLst>
        </pc:spChg>
        <pc:spChg chg="del">
          <ac:chgData name="Kuo, Davian" userId="f0f04098-50d6-4562-8c6e-1bff3921f330" providerId="ADAL" clId="{F36DAA6F-23B3-4892-B3A8-F83F46406EB9}" dt="2025-03-21T08:35:16.512" v="7532" actId="478"/>
          <ac:spMkLst>
            <pc:docMk/>
            <pc:sldMk cId="2212782253" sldId="2147473212"/>
            <ac:spMk id="43" creationId="{15072575-A1F8-C05C-1DDC-3227749B0622}"/>
          </ac:spMkLst>
        </pc:spChg>
        <pc:spChg chg="del">
          <ac:chgData name="Kuo, Davian" userId="f0f04098-50d6-4562-8c6e-1bff3921f330" providerId="ADAL" clId="{F36DAA6F-23B3-4892-B3A8-F83F46406EB9}" dt="2025-03-21T08:34:29.762" v="7511" actId="478"/>
          <ac:spMkLst>
            <pc:docMk/>
            <pc:sldMk cId="2212782253" sldId="2147473212"/>
            <ac:spMk id="76" creationId="{5627F1AB-8A5A-60BD-1E8F-C8807C811826}"/>
          </ac:spMkLst>
        </pc:spChg>
        <pc:spChg chg="del">
          <ac:chgData name="Kuo, Davian" userId="f0f04098-50d6-4562-8c6e-1bff3921f330" providerId="ADAL" clId="{F36DAA6F-23B3-4892-B3A8-F83F46406EB9}" dt="2025-03-21T08:35:06.344" v="7525" actId="478"/>
          <ac:spMkLst>
            <pc:docMk/>
            <pc:sldMk cId="2212782253" sldId="2147473212"/>
            <ac:spMk id="83" creationId="{5CEA731F-35AD-7CEE-F7CB-1BA09A331874}"/>
          </ac:spMkLst>
        </pc:spChg>
        <pc:spChg chg="del">
          <ac:chgData name="Kuo, Davian" userId="f0f04098-50d6-4562-8c6e-1bff3921f330" providerId="ADAL" clId="{F36DAA6F-23B3-4892-B3A8-F83F46406EB9}" dt="2025-03-21T08:35:09.775" v="7527" actId="478"/>
          <ac:spMkLst>
            <pc:docMk/>
            <pc:sldMk cId="2212782253" sldId="2147473212"/>
            <ac:spMk id="90" creationId="{42AC530F-BEB0-74D2-6DDD-454860F29A5E}"/>
          </ac:spMkLst>
        </pc:spChg>
        <pc:spChg chg="del">
          <ac:chgData name="Kuo, Davian" userId="f0f04098-50d6-4562-8c6e-1bff3921f330" providerId="ADAL" clId="{F36DAA6F-23B3-4892-B3A8-F83F46406EB9}" dt="2025-03-21T08:35:13.094" v="7530" actId="478"/>
          <ac:spMkLst>
            <pc:docMk/>
            <pc:sldMk cId="2212782253" sldId="2147473212"/>
            <ac:spMk id="98" creationId="{F90B024D-7B6F-8579-6010-8AFEAAF08E90}"/>
          </ac:spMkLst>
        </pc:spChg>
        <pc:picChg chg="add del mod ord">
          <ac:chgData name="Kuo, Davian" userId="f0f04098-50d6-4562-8c6e-1bff3921f330" providerId="ADAL" clId="{F36DAA6F-23B3-4892-B3A8-F83F46406EB9}" dt="2025-03-21T08:39:09.196" v="7778" actId="1038"/>
          <ac:picMkLst>
            <pc:docMk/>
            <pc:sldMk cId="2212782253" sldId="2147473212"/>
            <ac:picMk id="8" creationId="{33DEC093-2BEB-37EC-DB67-296D9CD12A3B}"/>
          </ac:picMkLst>
        </pc:picChg>
        <pc:picChg chg="del">
          <ac:chgData name="Kuo, Davian" userId="f0f04098-50d6-4562-8c6e-1bff3921f330" providerId="ADAL" clId="{F36DAA6F-23B3-4892-B3A8-F83F46406EB9}" dt="2025-03-21T08:33:55.617" v="7497" actId="478"/>
          <ac:picMkLst>
            <pc:docMk/>
            <pc:sldMk cId="2212782253" sldId="2147473212"/>
            <ac:picMk id="56" creationId="{69D5D3A0-AFAE-F79F-8BAA-28C75AADBF17}"/>
          </ac:picMkLst>
        </pc:picChg>
        <pc:cxnChg chg="add mod">
          <ac:chgData name="Kuo, Davian" userId="f0f04098-50d6-4562-8c6e-1bff3921f330" providerId="ADAL" clId="{F36DAA6F-23B3-4892-B3A8-F83F46406EB9}" dt="2025-03-21T08:43:34.522" v="7824" actId="692"/>
          <ac:cxnSpMkLst>
            <pc:docMk/>
            <pc:sldMk cId="2212782253" sldId="2147473212"/>
            <ac:cxnSpMk id="11" creationId="{579BCF59-22D0-11B2-D014-8880D43FE2FC}"/>
          </ac:cxnSpMkLst>
        </pc:cxnChg>
        <pc:cxnChg chg="del mod">
          <ac:chgData name="Kuo, Davian" userId="f0f04098-50d6-4562-8c6e-1bff3921f330" providerId="ADAL" clId="{F36DAA6F-23B3-4892-B3A8-F83F46406EB9}" dt="2025-03-21T08:34:34.687" v="7514" actId="478"/>
          <ac:cxnSpMkLst>
            <pc:docMk/>
            <pc:sldMk cId="2212782253" sldId="2147473212"/>
            <ac:cxnSpMk id="14" creationId="{A201F1D7-9F18-164F-B8B0-85AFB40D4120}"/>
          </ac:cxnSpMkLst>
        </pc:cxnChg>
        <pc:cxnChg chg="mod">
          <ac:chgData name="Kuo, Davian" userId="f0f04098-50d6-4562-8c6e-1bff3921f330" providerId="ADAL" clId="{F36DAA6F-23B3-4892-B3A8-F83F46406EB9}" dt="2025-03-21T08:39:09.196" v="7778" actId="1038"/>
          <ac:cxnSpMkLst>
            <pc:docMk/>
            <pc:sldMk cId="2212782253" sldId="2147473212"/>
            <ac:cxnSpMk id="19" creationId="{EC57B21E-5DCE-F6AB-F9BB-830A8D90804B}"/>
          </ac:cxnSpMkLst>
        </pc:cxnChg>
        <pc:cxnChg chg="del mod">
          <ac:chgData name="Kuo, Davian" userId="f0f04098-50d6-4562-8c6e-1bff3921f330" providerId="ADAL" clId="{F36DAA6F-23B3-4892-B3A8-F83F46406EB9}" dt="2025-03-21T08:34:26.066" v="7508" actId="478"/>
          <ac:cxnSpMkLst>
            <pc:docMk/>
            <pc:sldMk cId="2212782253" sldId="2147473212"/>
            <ac:cxnSpMk id="30" creationId="{C3B101C8-4277-0B11-AD6B-828192D6344A}"/>
          </ac:cxnSpMkLst>
        </pc:cxnChg>
        <pc:cxnChg chg="del mod">
          <ac:chgData name="Kuo, Davian" userId="f0f04098-50d6-4562-8c6e-1bff3921f330" providerId="ADAL" clId="{F36DAA6F-23B3-4892-B3A8-F83F46406EB9}" dt="2025-03-21T08:35:15.347" v="7531" actId="478"/>
          <ac:cxnSpMkLst>
            <pc:docMk/>
            <pc:sldMk cId="2212782253" sldId="2147473212"/>
            <ac:cxnSpMk id="37" creationId="{01021499-8076-7D80-4B34-58FE9A624DD1}"/>
          </ac:cxnSpMkLst>
        </pc:cxnChg>
        <pc:cxnChg chg="del mod">
          <ac:chgData name="Kuo, Davian" userId="f0f04098-50d6-4562-8c6e-1bff3921f330" providerId="ADAL" clId="{F36DAA6F-23B3-4892-B3A8-F83F46406EB9}" dt="2025-03-21T08:35:17.549" v="7533" actId="478"/>
          <ac:cxnSpMkLst>
            <pc:docMk/>
            <pc:sldMk cId="2212782253" sldId="2147473212"/>
            <ac:cxnSpMk id="44" creationId="{4A808AB5-5DEB-0046-11B2-331D7AD166F8}"/>
          </ac:cxnSpMkLst>
        </pc:cxnChg>
        <pc:cxnChg chg="del mod">
          <ac:chgData name="Kuo, Davian" userId="f0f04098-50d6-4562-8c6e-1bff3921f330" providerId="ADAL" clId="{F36DAA6F-23B3-4892-B3A8-F83F46406EB9}" dt="2025-03-21T08:34:28.076" v="7510" actId="478"/>
          <ac:cxnSpMkLst>
            <pc:docMk/>
            <pc:sldMk cId="2212782253" sldId="2147473212"/>
            <ac:cxnSpMk id="77" creationId="{854B4468-FC84-BDF9-21C2-E5B60AD55B88}"/>
          </ac:cxnSpMkLst>
        </pc:cxnChg>
        <pc:cxnChg chg="del mod">
          <ac:chgData name="Kuo, Davian" userId="f0f04098-50d6-4562-8c6e-1bff3921f330" providerId="ADAL" clId="{F36DAA6F-23B3-4892-B3A8-F83F46406EB9}" dt="2025-03-21T08:35:07.149" v="7526" actId="478"/>
          <ac:cxnSpMkLst>
            <pc:docMk/>
            <pc:sldMk cId="2212782253" sldId="2147473212"/>
            <ac:cxnSpMk id="84" creationId="{284DBB9B-8B00-806F-D76F-724683903FC5}"/>
          </ac:cxnSpMkLst>
        </pc:cxnChg>
        <pc:cxnChg chg="del">
          <ac:chgData name="Kuo, Davian" userId="f0f04098-50d6-4562-8c6e-1bff3921f330" providerId="ADAL" clId="{F36DAA6F-23B3-4892-B3A8-F83F46406EB9}" dt="2025-03-21T08:35:10.686" v="7528" actId="478"/>
          <ac:cxnSpMkLst>
            <pc:docMk/>
            <pc:sldMk cId="2212782253" sldId="2147473212"/>
            <ac:cxnSpMk id="91" creationId="{67AB9733-2F2A-AC99-800E-F617C663E9F8}"/>
          </ac:cxnSpMkLst>
        </pc:cxnChg>
        <pc:cxnChg chg="del mod">
          <ac:chgData name="Kuo, Davian" userId="f0f04098-50d6-4562-8c6e-1bff3921f330" providerId="ADAL" clId="{F36DAA6F-23B3-4892-B3A8-F83F46406EB9}" dt="2025-03-21T08:35:11.751" v="7529" actId="478"/>
          <ac:cxnSpMkLst>
            <pc:docMk/>
            <pc:sldMk cId="2212782253" sldId="2147473212"/>
            <ac:cxnSpMk id="99" creationId="{1C564E5E-B668-CD87-1D23-C310D59FB295}"/>
          </ac:cxnSpMkLst>
        </pc:cxnChg>
      </pc:sldChg>
      <pc:sldChg chg="new del">
        <pc:chgData name="Kuo, Davian" userId="f0f04098-50d6-4562-8c6e-1bff3921f330" providerId="ADAL" clId="{F36DAA6F-23B3-4892-B3A8-F83F46406EB9}" dt="2025-03-21T09:18:17.465" v="8064" actId="680"/>
        <pc:sldMkLst>
          <pc:docMk/>
          <pc:sldMk cId="1284967259" sldId="2147473213"/>
        </pc:sldMkLst>
      </pc:sldChg>
      <pc:sldChg chg="addSp delSp modSp add del mod ord">
        <pc:chgData name="Kuo, Davian" userId="f0f04098-50d6-4562-8c6e-1bff3921f330" providerId="ADAL" clId="{F36DAA6F-23B3-4892-B3A8-F83F46406EB9}" dt="2025-03-21T08:50:24.190" v="8062" actId="47"/>
        <pc:sldMkLst>
          <pc:docMk/>
          <pc:sldMk cId="1531942151" sldId="2147473213"/>
        </pc:sldMkLst>
        <pc:spChg chg="mod">
          <ac:chgData name="Kuo, Davian" userId="f0f04098-50d6-4562-8c6e-1bff3921f330" providerId="ADAL" clId="{F36DAA6F-23B3-4892-B3A8-F83F46406EB9}" dt="2025-03-21T08:40:29.510" v="7798" actId="20577"/>
          <ac:spMkLst>
            <pc:docMk/>
            <pc:sldMk cId="1531942151" sldId="2147473213"/>
            <ac:spMk id="3" creationId="{05AE970E-CA2C-153A-6699-E8E35A4399C4}"/>
          </ac:spMkLst>
        </pc:spChg>
        <pc:spChg chg="add mod">
          <ac:chgData name="Kuo, Davian" userId="f0f04098-50d6-4562-8c6e-1bff3921f330" providerId="ADAL" clId="{F36DAA6F-23B3-4892-B3A8-F83F46406EB9}" dt="2025-03-21T08:50:15.362" v="8061" actId="20577"/>
          <ac:spMkLst>
            <pc:docMk/>
            <pc:sldMk cId="1531942151" sldId="2147473213"/>
            <ac:spMk id="10" creationId="{5D673FCF-5871-F3CD-1057-7F82EEE2B0BC}"/>
          </ac:spMkLst>
        </pc:spChg>
        <pc:spChg chg="add mod">
          <ac:chgData name="Kuo, Davian" userId="f0f04098-50d6-4562-8c6e-1bff3921f330" providerId="ADAL" clId="{F36DAA6F-23B3-4892-B3A8-F83F46406EB9}" dt="2025-03-21T08:43:50.248" v="7827" actId="14100"/>
          <ac:spMkLst>
            <pc:docMk/>
            <pc:sldMk cId="1531942151" sldId="2147473213"/>
            <ac:spMk id="11" creationId="{E3BF5B73-3FF7-170A-797E-20A2A93ED5C5}"/>
          </ac:spMkLst>
        </pc:spChg>
        <pc:spChg chg="del">
          <ac:chgData name="Kuo, Davian" userId="f0f04098-50d6-4562-8c6e-1bff3921f330" providerId="ADAL" clId="{F36DAA6F-23B3-4892-B3A8-F83F46406EB9}" dt="2025-03-21T08:42:40.827" v="7809" actId="478"/>
          <ac:spMkLst>
            <pc:docMk/>
            <pc:sldMk cId="1531942151" sldId="2147473213"/>
            <ac:spMk id="13" creationId="{68CB21A9-382E-41BE-2FF9-C2D7D0EAF0F9}"/>
          </ac:spMkLst>
        </pc:spChg>
        <pc:spChg chg="del">
          <ac:chgData name="Kuo, Davian" userId="f0f04098-50d6-4562-8c6e-1bff3921f330" providerId="ADAL" clId="{F36DAA6F-23B3-4892-B3A8-F83F46406EB9}" dt="2025-03-21T08:43:58.892" v="7829" actId="478"/>
          <ac:spMkLst>
            <pc:docMk/>
            <pc:sldMk cId="1531942151" sldId="2147473213"/>
            <ac:spMk id="18" creationId="{83CF7D09-219F-FD71-AC17-0B1A6742C311}"/>
          </ac:spMkLst>
        </pc:spChg>
        <pc:spChg chg="del">
          <ac:chgData name="Kuo, Davian" userId="f0f04098-50d6-4562-8c6e-1bff3921f330" providerId="ADAL" clId="{F36DAA6F-23B3-4892-B3A8-F83F46406EB9}" dt="2025-03-21T08:43:23.434" v="7822" actId="478"/>
          <ac:spMkLst>
            <pc:docMk/>
            <pc:sldMk cId="1531942151" sldId="2147473213"/>
            <ac:spMk id="21" creationId="{056317D1-AD4C-3D10-5A2F-B27B9F1F0EB5}"/>
          </ac:spMkLst>
        </pc:spChg>
        <pc:spChg chg="del">
          <ac:chgData name="Kuo, Davian" userId="f0f04098-50d6-4562-8c6e-1bff3921f330" providerId="ADAL" clId="{F36DAA6F-23B3-4892-B3A8-F83F46406EB9}" dt="2025-03-21T08:42:42.100" v="7810" actId="478"/>
          <ac:spMkLst>
            <pc:docMk/>
            <pc:sldMk cId="1531942151" sldId="2147473213"/>
            <ac:spMk id="29" creationId="{8CFC61DF-BD9A-6665-8914-13B2725B55CD}"/>
          </ac:spMkLst>
        </pc:spChg>
        <pc:spChg chg="del">
          <ac:chgData name="Kuo, Davian" userId="f0f04098-50d6-4562-8c6e-1bff3921f330" providerId="ADAL" clId="{F36DAA6F-23B3-4892-B3A8-F83F46406EB9}" dt="2025-03-21T08:43:57.100" v="7828" actId="478"/>
          <ac:spMkLst>
            <pc:docMk/>
            <pc:sldMk cId="1531942151" sldId="2147473213"/>
            <ac:spMk id="36" creationId="{2B5EE2F3-4FA1-AF0C-36A8-54F2B11626BC}"/>
          </ac:spMkLst>
        </pc:spChg>
        <pc:spChg chg="del">
          <ac:chgData name="Kuo, Davian" userId="f0f04098-50d6-4562-8c6e-1bff3921f330" providerId="ADAL" clId="{F36DAA6F-23B3-4892-B3A8-F83F46406EB9}" dt="2025-03-21T08:44:03.868" v="7834" actId="478"/>
          <ac:spMkLst>
            <pc:docMk/>
            <pc:sldMk cId="1531942151" sldId="2147473213"/>
            <ac:spMk id="43" creationId="{759A0F57-834F-22EF-A92F-29E89745460F}"/>
          </ac:spMkLst>
        </pc:spChg>
        <pc:spChg chg="del">
          <ac:chgData name="Kuo, Davian" userId="f0f04098-50d6-4562-8c6e-1bff3921f330" providerId="ADAL" clId="{F36DAA6F-23B3-4892-B3A8-F83F46406EB9}" dt="2025-03-21T08:42:48.090" v="7813" actId="478"/>
          <ac:spMkLst>
            <pc:docMk/>
            <pc:sldMk cId="1531942151" sldId="2147473213"/>
            <ac:spMk id="76" creationId="{5F20A4C0-F29B-806C-0C3D-833C187296DA}"/>
          </ac:spMkLst>
        </pc:spChg>
        <pc:spChg chg="del">
          <ac:chgData name="Kuo, Davian" userId="f0f04098-50d6-4562-8c6e-1bff3921f330" providerId="ADAL" clId="{F36DAA6F-23B3-4892-B3A8-F83F46406EB9}" dt="2025-03-21T08:42:49.787" v="7815" actId="478"/>
          <ac:spMkLst>
            <pc:docMk/>
            <pc:sldMk cId="1531942151" sldId="2147473213"/>
            <ac:spMk id="83" creationId="{35FB870A-DDB1-A5C0-8D05-700FD9513602}"/>
          </ac:spMkLst>
        </pc:spChg>
        <pc:spChg chg="del">
          <ac:chgData name="Kuo, Davian" userId="f0f04098-50d6-4562-8c6e-1bff3921f330" providerId="ADAL" clId="{F36DAA6F-23B3-4892-B3A8-F83F46406EB9}" dt="2025-03-21T08:42:51.311" v="7817" actId="478"/>
          <ac:spMkLst>
            <pc:docMk/>
            <pc:sldMk cId="1531942151" sldId="2147473213"/>
            <ac:spMk id="90" creationId="{193EE68A-F704-F64F-0D8C-FB62BAC489F3}"/>
          </ac:spMkLst>
        </pc:spChg>
        <pc:spChg chg="del">
          <ac:chgData name="Kuo, Davian" userId="f0f04098-50d6-4562-8c6e-1bff3921f330" providerId="ADAL" clId="{F36DAA6F-23B3-4892-B3A8-F83F46406EB9}" dt="2025-03-21T08:42:55.190" v="7820" actId="478"/>
          <ac:spMkLst>
            <pc:docMk/>
            <pc:sldMk cId="1531942151" sldId="2147473213"/>
            <ac:spMk id="98" creationId="{AA574B67-4360-38D9-1133-D4E9D323169E}"/>
          </ac:spMkLst>
        </pc:spChg>
        <pc:picChg chg="add del mod">
          <ac:chgData name="Kuo, Davian" userId="f0f04098-50d6-4562-8c6e-1bff3921f330" providerId="ADAL" clId="{F36DAA6F-23B3-4892-B3A8-F83F46406EB9}" dt="2025-03-21T08:42:33.300" v="7805" actId="21"/>
          <ac:picMkLst>
            <pc:docMk/>
            <pc:sldMk cId="1531942151" sldId="2147473213"/>
            <ac:picMk id="8" creationId="{20B96511-F9B6-8C3D-7BAB-20B54F845CC0}"/>
          </ac:picMkLst>
        </pc:picChg>
        <pc:picChg chg="add mod ord">
          <ac:chgData name="Kuo, Davian" userId="f0f04098-50d6-4562-8c6e-1bff3921f330" providerId="ADAL" clId="{F36DAA6F-23B3-4892-B3A8-F83F46406EB9}" dt="2025-03-21T08:42:38.282" v="7808" actId="167"/>
          <ac:picMkLst>
            <pc:docMk/>
            <pc:sldMk cId="1531942151" sldId="2147473213"/>
            <ac:picMk id="9" creationId="{20B96511-F9B6-8C3D-7BAB-20B54F845CC0}"/>
          </ac:picMkLst>
        </pc:picChg>
        <pc:picChg chg="del">
          <ac:chgData name="Kuo, Davian" userId="f0f04098-50d6-4562-8c6e-1bff3921f330" providerId="ADAL" clId="{F36DAA6F-23B3-4892-B3A8-F83F46406EB9}" dt="2025-03-21T08:42:34.352" v="7806" actId="478"/>
          <ac:picMkLst>
            <pc:docMk/>
            <pc:sldMk cId="1531942151" sldId="2147473213"/>
            <ac:picMk id="56" creationId="{BF24B5EA-DEBA-CD37-6B81-AA40925DB2D9}"/>
          </ac:picMkLst>
        </pc:picChg>
        <pc:cxnChg chg="del mod">
          <ac:chgData name="Kuo, Davian" userId="f0f04098-50d6-4562-8c6e-1bff3921f330" providerId="ADAL" clId="{F36DAA6F-23B3-4892-B3A8-F83F46406EB9}" dt="2025-03-21T08:42:43.309" v="7812" actId="478"/>
          <ac:cxnSpMkLst>
            <pc:docMk/>
            <pc:sldMk cId="1531942151" sldId="2147473213"/>
            <ac:cxnSpMk id="14" creationId="{9AFDBE00-4CB4-284B-A1CB-A1BD89095D72}"/>
          </ac:cxnSpMkLst>
        </pc:cxnChg>
        <pc:cxnChg chg="del mod">
          <ac:chgData name="Kuo, Davian" userId="f0f04098-50d6-4562-8c6e-1bff3921f330" providerId="ADAL" clId="{F36DAA6F-23B3-4892-B3A8-F83F46406EB9}" dt="2025-03-21T08:43:59.688" v="7830" actId="478"/>
          <ac:cxnSpMkLst>
            <pc:docMk/>
            <pc:sldMk cId="1531942151" sldId="2147473213"/>
            <ac:cxnSpMk id="19" creationId="{63EA87A7-E634-0D2D-A7E2-F450CDF10271}"/>
          </ac:cxnSpMkLst>
        </pc:cxnChg>
        <pc:cxnChg chg="del mod">
          <ac:chgData name="Kuo, Davian" userId="f0f04098-50d6-4562-8c6e-1bff3921f330" providerId="ADAL" clId="{F36DAA6F-23B3-4892-B3A8-F83F46406EB9}" dt="2025-03-21T08:42:42.823" v="7811" actId="478"/>
          <ac:cxnSpMkLst>
            <pc:docMk/>
            <pc:sldMk cId="1531942151" sldId="2147473213"/>
            <ac:cxnSpMk id="30" creationId="{71B1D93B-5972-40FC-0F85-B8D72E615437}"/>
          </ac:cxnSpMkLst>
        </pc:cxnChg>
        <pc:cxnChg chg="del mod">
          <ac:chgData name="Kuo, Davian" userId="f0f04098-50d6-4562-8c6e-1bff3921f330" providerId="ADAL" clId="{F36DAA6F-23B3-4892-B3A8-F83F46406EB9}" dt="2025-03-21T08:44:00.853" v="7831" actId="478"/>
          <ac:cxnSpMkLst>
            <pc:docMk/>
            <pc:sldMk cId="1531942151" sldId="2147473213"/>
            <ac:cxnSpMk id="37" creationId="{50691B83-7CE8-CA85-515D-088BCD7DE82B}"/>
          </ac:cxnSpMkLst>
        </pc:cxnChg>
        <pc:cxnChg chg="del mod">
          <ac:chgData name="Kuo, Davian" userId="f0f04098-50d6-4562-8c6e-1bff3921f330" providerId="ADAL" clId="{F36DAA6F-23B3-4892-B3A8-F83F46406EB9}" dt="2025-03-21T08:44:02.707" v="7833" actId="478"/>
          <ac:cxnSpMkLst>
            <pc:docMk/>
            <pc:sldMk cId="1531942151" sldId="2147473213"/>
            <ac:cxnSpMk id="44" creationId="{6A5262C0-DA94-A6B3-A6EB-29A4351BC57E}"/>
          </ac:cxnSpMkLst>
        </pc:cxnChg>
        <pc:cxnChg chg="del mod">
          <ac:chgData name="Kuo, Davian" userId="f0f04098-50d6-4562-8c6e-1bff3921f330" providerId="ADAL" clId="{F36DAA6F-23B3-4892-B3A8-F83F46406EB9}" dt="2025-03-21T08:42:49.017" v="7814" actId="478"/>
          <ac:cxnSpMkLst>
            <pc:docMk/>
            <pc:sldMk cId="1531942151" sldId="2147473213"/>
            <ac:cxnSpMk id="77" creationId="{AEAAFAE6-DFDC-9FD7-195C-7C38C46870D6}"/>
          </ac:cxnSpMkLst>
        </pc:cxnChg>
        <pc:cxnChg chg="del mod">
          <ac:chgData name="Kuo, Davian" userId="f0f04098-50d6-4562-8c6e-1bff3921f330" providerId="ADAL" clId="{F36DAA6F-23B3-4892-B3A8-F83F46406EB9}" dt="2025-03-21T08:42:50.385" v="7816" actId="478"/>
          <ac:cxnSpMkLst>
            <pc:docMk/>
            <pc:sldMk cId="1531942151" sldId="2147473213"/>
            <ac:cxnSpMk id="84" creationId="{BB783258-4D1A-A54E-F474-A1E5489A8D94}"/>
          </ac:cxnSpMkLst>
        </pc:cxnChg>
        <pc:cxnChg chg="del">
          <ac:chgData name="Kuo, Davian" userId="f0f04098-50d6-4562-8c6e-1bff3921f330" providerId="ADAL" clId="{F36DAA6F-23B3-4892-B3A8-F83F46406EB9}" dt="2025-03-21T08:42:52.175" v="7818" actId="478"/>
          <ac:cxnSpMkLst>
            <pc:docMk/>
            <pc:sldMk cId="1531942151" sldId="2147473213"/>
            <ac:cxnSpMk id="91" creationId="{4D67BD39-E7E4-31F2-6695-98AD95DA7DF2}"/>
          </ac:cxnSpMkLst>
        </pc:cxnChg>
        <pc:cxnChg chg="del mod">
          <ac:chgData name="Kuo, Davian" userId="f0f04098-50d6-4562-8c6e-1bff3921f330" providerId="ADAL" clId="{F36DAA6F-23B3-4892-B3A8-F83F46406EB9}" dt="2025-03-21T08:42:53.304" v="7819" actId="478"/>
          <ac:cxnSpMkLst>
            <pc:docMk/>
            <pc:sldMk cId="1531942151" sldId="2147473213"/>
            <ac:cxnSpMk id="99" creationId="{03A49873-2830-A814-16D4-83BB520080BE}"/>
          </ac:cxnSpMkLst>
        </pc:cxnChg>
      </pc:sldChg>
      <pc:sldChg chg="add">
        <pc:chgData name="Kuo, Davian" userId="f0f04098-50d6-4562-8c6e-1bff3921f330" providerId="ADAL" clId="{F36DAA6F-23B3-4892-B3A8-F83F46406EB9}" dt="2025-03-21T09:18:19.670" v="8065"/>
        <pc:sldMkLst>
          <pc:docMk/>
          <pc:sldMk cId="2002654503" sldId="2147473213"/>
        </pc:sldMkLst>
      </pc:sldChg>
    </pc:docChg>
  </pc:docChgLst>
  <pc:docChgLst>
    <pc:chgData name="Kuo, Davian" userId="f0f04098-50d6-4562-8c6e-1bff3921f330" providerId="ADAL" clId="{A0408498-5283-4221-BB42-BCB01F0CB514}"/>
    <pc:docChg chg="undo custSel addSld delSld modSld modSection">
      <pc:chgData name="Kuo, Davian" userId="f0f04098-50d6-4562-8c6e-1bff3921f330" providerId="ADAL" clId="{A0408498-5283-4221-BB42-BCB01F0CB514}" dt="2024-03-02T00:42:15.427" v="2059" actId="478"/>
      <pc:docMkLst>
        <pc:docMk/>
      </pc:docMkLst>
      <pc:sldChg chg="del">
        <pc:chgData name="Kuo, Davian" userId="f0f04098-50d6-4562-8c6e-1bff3921f330" providerId="ADAL" clId="{A0408498-5283-4221-BB42-BCB01F0CB514}" dt="2024-02-29T09:59:54.973" v="1396" actId="47"/>
        <pc:sldMkLst>
          <pc:docMk/>
          <pc:sldMk cId="1251943622" sldId="2147473188"/>
        </pc:sldMkLst>
      </pc:sldChg>
      <pc:sldChg chg="del">
        <pc:chgData name="Kuo, Davian" userId="f0f04098-50d6-4562-8c6e-1bff3921f330" providerId="ADAL" clId="{A0408498-5283-4221-BB42-BCB01F0CB514}" dt="2024-02-29T09:59:55.462" v="1397" actId="47"/>
        <pc:sldMkLst>
          <pc:docMk/>
          <pc:sldMk cId="1228475918" sldId="2147473192"/>
        </pc:sldMkLst>
      </pc:sldChg>
      <pc:sldChg chg="del">
        <pc:chgData name="Kuo, Davian" userId="f0f04098-50d6-4562-8c6e-1bff3921f330" providerId="ADAL" clId="{A0408498-5283-4221-BB42-BCB01F0CB514}" dt="2024-02-29T09:59:56.167" v="1399" actId="47"/>
        <pc:sldMkLst>
          <pc:docMk/>
          <pc:sldMk cId="2986069778" sldId="2147473193"/>
        </pc:sldMkLst>
      </pc:sldChg>
      <pc:sldChg chg="del">
        <pc:chgData name="Kuo, Davian" userId="f0f04098-50d6-4562-8c6e-1bff3921f330" providerId="ADAL" clId="{A0408498-5283-4221-BB42-BCB01F0CB514}" dt="2024-02-29T09:59:56.956" v="1401" actId="47"/>
        <pc:sldMkLst>
          <pc:docMk/>
          <pc:sldMk cId="785948304" sldId="2147473194"/>
        </pc:sldMkLst>
      </pc:sldChg>
      <pc:sldChg chg="del">
        <pc:chgData name="Kuo, Davian" userId="f0f04098-50d6-4562-8c6e-1bff3921f330" providerId="ADAL" clId="{A0408498-5283-4221-BB42-BCB01F0CB514}" dt="2024-02-29T09:59:55.819" v="1398" actId="47"/>
        <pc:sldMkLst>
          <pc:docMk/>
          <pc:sldMk cId="3744296811" sldId="2147473195"/>
        </pc:sldMkLst>
      </pc:sldChg>
      <pc:sldChg chg="del">
        <pc:chgData name="Kuo, Davian" userId="f0f04098-50d6-4562-8c6e-1bff3921f330" providerId="ADAL" clId="{A0408498-5283-4221-BB42-BCB01F0CB514}" dt="2024-02-29T09:59:56.501" v="1400" actId="47"/>
        <pc:sldMkLst>
          <pc:docMk/>
          <pc:sldMk cId="3391740253" sldId="2147473196"/>
        </pc:sldMkLst>
      </pc:sldChg>
      <pc:sldChg chg="del">
        <pc:chgData name="Kuo, Davian" userId="f0f04098-50d6-4562-8c6e-1bff3921f330" providerId="ADAL" clId="{A0408498-5283-4221-BB42-BCB01F0CB514}" dt="2024-02-29T09:59:57.522" v="1402" actId="47"/>
        <pc:sldMkLst>
          <pc:docMk/>
          <pc:sldMk cId="2669564567" sldId="2147473197"/>
        </pc:sldMkLst>
      </pc:sldChg>
      <pc:sldChg chg="addSp delSp modSp new del mod">
        <pc:chgData name="Kuo, Davian" userId="f0f04098-50d6-4562-8c6e-1bff3921f330" providerId="ADAL" clId="{A0408498-5283-4221-BB42-BCB01F0CB514}" dt="2024-03-01T00:06:09.464" v="1441" actId="47"/>
        <pc:sldMkLst>
          <pc:docMk/>
          <pc:sldMk cId="2090569256" sldId="2147473198"/>
        </pc:sldMkLst>
      </pc:sldChg>
      <pc:sldChg chg="addSp delSp modSp add mod">
        <pc:chgData name="Kuo, Davian" userId="f0f04098-50d6-4562-8c6e-1bff3921f330" providerId="ADAL" clId="{A0408498-5283-4221-BB42-BCB01F0CB514}" dt="2024-03-02T00:42:15.427" v="2059" actId="478"/>
        <pc:sldMkLst>
          <pc:docMk/>
          <pc:sldMk cId="2037922143" sldId="2147473199"/>
        </pc:sldMkLst>
      </pc:sldChg>
    </pc:docChg>
  </pc:docChgLst>
  <pc:docChgLst>
    <pc:chgData name="Kuo, Davian" userId="f0f04098-50d6-4562-8c6e-1bff3921f330" providerId="ADAL" clId="{38E31D3A-DC59-486F-8BC8-66E3BAF24FA5}"/>
    <pc:docChg chg="undo custSel modSld">
      <pc:chgData name="Kuo, Davian" userId="f0f04098-50d6-4562-8c6e-1bff3921f330" providerId="ADAL" clId="{38E31D3A-DC59-486F-8BC8-66E3BAF24FA5}" dt="2024-09-03T09:58:18.942" v="185" actId="1076"/>
      <pc:docMkLst>
        <pc:docMk/>
      </pc:docMkLst>
      <pc:sldChg chg="addSp delSp modSp mod">
        <pc:chgData name="Kuo, Davian" userId="f0f04098-50d6-4562-8c6e-1bff3921f330" providerId="ADAL" clId="{38E31D3A-DC59-486F-8BC8-66E3BAF24FA5}" dt="2024-09-03T09:58:18.942" v="185" actId="1076"/>
        <pc:sldMkLst>
          <pc:docMk/>
          <pc:sldMk cId="599810960" sldId="2147473194"/>
        </pc:sldMkLst>
      </pc:sldChg>
    </pc:docChg>
  </pc:docChgLst>
  <pc:docChgLst>
    <pc:chgData name="Hsieh, Shawn" userId="f93cd79d-7438-4359-8c75-142aea53e1dd" providerId="ADAL" clId="{2D78533E-F95D-453C-9A17-47FA7A45B213}"/>
    <pc:docChg chg="custSel addSld delSld modSld modSection replTag">
      <pc:chgData name="Hsieh, Shawn" userId="f93cd79d-7438-4359-8c75-142aea53e1dd" providerId="ADAL" clId="{2D78533E-F95D-453C-9A17-47FA7A45B213}" dt="2023-08-25T03:43:26.630" v="1185" actId="20577"/>
      <pc:docMkLst>
        <pc:docMk/>
      </pc:docMkLst>
      <pc:sldChg chg="addSp modSp mod">
        <pc:chgData name="Hsieh, Shawn" userId="f93cd79d-7438-4359-8c75-142aea53e1dd" providerId="ADAL" clId="{2D78533E-F95D-453C-9A17-47FA7A45B213}" dt="2023-08-25T03:40:22.565" v="1138" actId="688"/>
        <pc:sldMkLst>
          <pc:docMk/>
          <pc:sldMk cId="3557367230" sldId="281"/>
        </pc:sldMkLst>
      </pc:sldChg>
      <pc:sldChg chg="addSp delSp modSp mod">
        <pc:chgData name="Hsieh, Shawn" userId="f93cd79d-7438-4359-8c75-142aea53e1dd" providerId="ADAL" clId="{2D78533E-F95D-453C-9A17-47FA7A45B213}" dt="2023-08-24T10:16:48.059" v="418"/>
        <pc:sldMkLst>
          <pc:docMk/>
          <pc:sldMk cId="487370219" sldId="2147472916"/>
        </pc:sldMkLst>
      </pc:sldChg>
      <pc:sldChg chg="addSp delSp modSp mod">
        <pc:chgData name="Hsieh, Shawn" userId="f93cd79d-7438-4359-8c75-142aea53e1dd" providerId="ADAL" clId="{2D78533E-F95D-453C-9A17-47FA7A45B213}" dt="2023-08-24T10:16:48.292" v="524"/>
        <pc:sldMkLst>
          <pc:docMk/>
          <pc:sldMk cId="1464975751" sldId="2147472917"/>
        </pc:sldMkLst>
      </pc:sldChg>
      <pc:sldChg chg="addSp delSp modSp mod">
        <pc:chgData name="Hsieh, Shawn" userId="f93cd79d-7438-4359-8c75-142aea53e1dd" providerId="ADAL" clId="{2D78533E-F95D-453C-9A17-47FA7A45B213}" dt="2023-08-24T10:16:48.173" v="471"/>
        <pc:sldMkLst>
          <pc:docMk/>
          <pc:sldMk cId="2026543933" sldId="2147472966"/>
        </pc:sldMkLst>
      </pc:sldChg>
      <pc:sldChg chg="addSp delSp modSp mod">
        <pc:chgData name="Hsieh, Shawn" userId="f93cd79d-7438-4359-8c75-142aea53e1dd" providerId="ADAL" clId="{2D78533E-F95D-453C-9A17-47FA7A45B213}" dt="2023-08-24T10:16:48.456" v="577"/>
        <pc:sldMkLst>
          <pc:docMk/>
          <pc:sldMk cId="574881004" sldId="2147472999"/>
        </pc:sldMkLst>
      </pc:sldChg>
      <pc:sldChg chg="modSp mod">
        <pc:chgData name="Hsieh, Shawn" userId="f93cd79d-7438-4359-8c75-142aea53e1dd" providerId="ADAL" clId="{2D78533E-F95D-453C-9A17-47FA7A45B213}" dt="2023-08-25T03:43:26.630" v="1185" actId="20577"/>
        <pc:sldMkLst>
          <pc:docMk/>
          <pc:sldMk cId="606718045" sldId="2147473084"/>
        </pc:sldMkLst>
      </pc:sldChg>
      <pc:sldChg chg="addSp delSp modSp mod">
        <pc:chgData name="Hsieh, Shawn" userId="f93cd79d-7438-4359-8c75-142aea53e1dd" providerId="ADAL" clId="{2D78533E-F95D-453C-9A17-47FA7A45B213}" dt="2023-08-24T10:16:48.580" v="630"/>
        <pc:sldMkLst>
          <pc:docMk/>
          <pc:sldMk cId="2178920054" sldId="2147473099"/>
        </pc:sldMkLst>
      </pc:sldChg>
      <pc:sldChg chg="addSp delSp modSp mod">
        <pc:chgData name="Hsieh, Shawn" userId="f93cd79d-7438-4359-8c75-142aea53e1dd" providerId="ADAL" clId="{2D78533E-F95D-453C-9A17-47FA7A45B213}" dt="2023-08-24T10:16:48.690" v="683"/>
        <pc:sldMkLst>
          <pc:docMk/>
          <pc:sldMk cId="2741573247" sldId="2147473119"/>
        </pc:sldMkLst>
      </pc:sldChg>
      <pc:sldChg chg="add">
        <pc:chgData name="Hsieh, Shawn" userId="f93cd79d-7438-4359-8c75-142aea53e1dd" providerId="ADAL" clId="{2D78533E-F95D-453C-9A17-47FA7A45B213}" dt="2023-08-24T10:15:21.122" v="0"/>
        <pc:sldMkLst>
          <pc:docMk/>
          <pc:sldMk cId="535462312" sldId="2147473125"/>
        </pc:sldMkLst>
      </pc:sldChg>
      <pc:sldChg chg="del">
        <pc:chgData name="Hsieh, Shawn" userId="f93cd79d-7438-4359-8c75-142aea53e1dd" providerId="ADAL" clId="{2D78533E-F95D-453C-9A17-47FA7A45B213}" dt="2023-08-24T10:16:57.393" v="781" actId="47"/>
        <pc:sldMkLst>
          <pc:docMk/>
          <pc:sldMk cId="1790399634" sldId="2147473137"/>
        </pc:sldMkLst>
      </pc:sldChg>
      <pc:sldChg chg="addSp delSp modSp mod">
        <pc:chgData name="Hsieh, Shawn" userId="f93cd79d-7438-4359-8c75-142aea53e1dd" providerId="ADAL" clId="{2D78533E-F95D-453C-9A17-47FA7A45B213}" dt="2023-08-24T10:16:48.831" v="734"/>
        <pc:sldMkLst>
          <pc:docMk/>
          <pc:sldMk cId="3202533040" sldId="2147473141"/>
        </pc:sldMkLst>
      </pc:sldChg>
      <pc:sldChg chg="delSp modSp del mod">
        <pc:chgData name="Hsieh, Shawn" userId="f93cd79d-7438-4359-8c75-142aea53e1dd" providerId="ADAL" clId="{2D78533E-F95D-453C-9A17-47FA7A45B213}" dt="2023-08-24T10:16:48.891" v="779" actId="2696"/>
        <pc:sldMkLst>
          <pc:docMk/>
          <pc:sldMk cId="4261729196" sldId="2147473142"/>
        </pc:sldMkLst>
      </pc:sldChg>
      <pc:sldChg chg="del">
        <pc:chgData name="Hsieh, Shawn" userId="f93cd79d-7438-4359-8c75-142aea53e1dd" providerId="ADAL" clId="{2D78533E-F95D-453C-9A17-47FA7A45B213}" dt="2023-08-24T10:16:48.888" v="776" actId="2696"/>
        <pc:sldMkLst>
          <pc:docMk/>
          <pc:sldMk cId="2276369359" sldId="2147473143"/>
        </pc:sldMkLst>
      </pc:sldChg>
      <pc:sldChg chg="del">
        <pc:chgData name="Hsieh, Shawn" userId="f93cd79d-7438-4359-8c75-142aea53e1dd" providerId="ADAL" clId="{2D78533E-F95D-453C-9A17-47FA7A45B213}" dt="2023-08-24T10:15:22.740" v="1" actId="47"/>
        <pc:sldMkLst>
          <pc:docMk/>
          <pc:sldMk cId="1375508852" sldId="2147473144"/>
        </pc:sldMkLst>
      </pc:sldChg>
      <pc:sldChg chg="del">
        <pc:chgData name="Hsieh, Shawn" userId="f93cd79d-7438-4359-8c75-142aea53e1dd" providerId="ADAL" clId="{2D78533E-F95D-453C-9A17-47FA7A45B213}" dt="2023-08-24T10:16:48.882" v="775" actId="2696"/>
        <pc:sldMkLst>
          <pc:docMk/>
          <pc:sldMk cId="3044959770" sldId="2147473144"/>
        </pc:sldMkLst>
      </pc:sldChg>
      <pc:sldChg chg="delSp modSp del mod replTag">
        <pc:chgData name="Hsieh, Shawn" userId="f93cd79d-7438-4359-8c75-142aea53e1dd" providerId="ADAL" clId="{2D78533E-F95D-453C-9A17-47FA7A45B213}" dt="2023-08-24T10:17:08.159" v="782" actId="47"/>
        <pc:sldMkLst>
          <pc:docMk/>
          <pc:sldMk cId="3256607307" sldId="2147473145"/>
        </pc:sldMkLst>
      </pc:sldChg>
    </pc:docChg>
  </pc:docChgLst>
  <pc:docChgLst>
    <pc:chgData name="Chen, Ryan" userId="aca00709-f626-4c6e-ba10-d5632b32d240" providerId="ADAL" clId="{7E3BD3FD-C980-42B0-B2C7-F33ABC89C4D4}"/>
    <pc:docChg chg="custSel addSld delSld modSld sldOrd modSection replTag">
      <pc:chgData name="Chen, Ryan" userId="aca00709-f626-4c6e-ba10-d5632b32d240" providerId="ADAL" clId="{7E3BD3FD-C980-42B0-B2C7-F33ABC89C4D4}" dt="2023-08-04T04:38:23.138" v="2903"/>
      <pc:docMkLst>
        <pc:docMk/>
      </pc:docMkLst>
      <pc:sldChg chg="ord">
        <pc:chgData name="Chen, Ryan" userId="aca00709-f626-4c6e-ba10-d5632b32d240" providerId="ADAL" clId="{7E3BD3FD-C980-42B0-B2C7-F33ABC89C4D4}" dt="2023-08-03T01:16:14.953" v="2207"/>
        <pc:sldMkLst>
          <pc:docMk/>
          <pc:sldMk cId="3887982491" sldId="272"/>
        </pc:sldMkLst>
      </pc:sldChg>
      <pc:sldChg chg="addSp delSp modSp mod">
        <pc:chgData name="Chen, Ryan" userId="aca00709-f626-4c6e-ba10-d5632b32d240" providerId="ADAL" clId="{7E3BD3FD-C980-42B0-B2C7-F33ABC89C4D4}" dt="2023-08-03T01:15:06.702" v="1844"/>
        <pc:sldMkLst>
          <pc:docMk/>
          <pc:sldMk cId="487370219" sldId="2147472916"/>
        </pc:sldMkLst>
      </pc:sldChg>
      <pc:sldChg chg="addSp delSp modSp mod">
        <pc:chgData name="Chen, Ryan" userId="aca00709-f626-4c6e-ba10-d5632b32d240" providerId="ADAL" clId="{7E3BD3FD-C980-42B0-B2C7-F33ABC89C4D4}" dt="2023-08-03T01:15:07.056" v="1950"/>
        <pc:sldMkLst>
          <pc:docMk/>
          <pc:sldMk cId="1464975751" sldId="2147472917"/>
        </pc:sldMkLst>
      </pc:sldChg>
      <pc:sldChg chg="addSp delSp modSp mod">
        <pc:chgData name="Chen, Ryan" userId="aca00709-f626-4c6e-ba10-d5632b32d240" providerId="ADAL" clId="{7E3BD3FD-C980-42B0-B2C7-F33ABC89C4D4}" dt="2023-08-03T01:15:06.862" v="1897"/>
        <pc:sldMkLst>
          <pc:docMk/>
          <pc:sldMk cId="2026543933" sldId="2147472966"/>
        </pc:sldMkLst>
      </pc:sldChg>
      <pc:sldChg chg="addSp delSp modSp mod">
        <pc:chgData name="Chen, Ryan" userId="aca00709-f626-4c6e-ba10-d5632b32d240" providerId="ADAL" clId="{7E3BD3FD-C980-42B0-B2C7-F33ABC89C4D4}" dt="2023-08-03T01:15:07.231" v="2003"/>
        <pc:sldMkLst>
          <pc:docMk/>
          <pc:sldMk cId="574881004" sldId="2147472999"/>
        </pc:sldMkLst>
      </pc:sldChg>
      <pc:sldChg chg="addSp delSp modSp del mod">
        <pc:chgData name="Chen, Ryan" userId="aca00709-f626-4c6e-ba10-d5632b32d240" providerId="ADAL" clId="{7E3BD3FD-C980-42B0-B2C7-F33ABC89C4D4}" dt="2023-08-03T01:28:42.584" v="2296" actId="47"/>
        <pc:sldMkLst>
          <pc:docMk/>
          <pc:sldMk cId="3023511849" sldId="2147473052"/>
        </pc:sldMkLst>
      </pc:sldChg>
      <pc:sldChg chg="addSp delSp modSp mod ord">
        <pc:chgData name="Chen, Ryan" userId="aca00709-f626-4c6e-ba10-d5632b32d240" providerId="ADAL" clId="{7E3BD3FD-C980-42B0-B2C7-F33ABC89C4D4}" dt="2023-08-03T01:28:59.876" v="2298"/>
        <pc:sldMkLst>
          <pc:docMk/>
          <pc:sldMk cId="271951959" sldId="2147473069"/>
        </pc:sldMkLst>
      </pc:sldChg>
      <pc:sldChg chg="addSp delSp modSp mod ord">
        <pc:chgData name="Chen, Ryan" userId="aca00709-f626-4c6e-ba10-d5632b32d240" providerId="ADAL" clId="{7E3BD3FD-C980-42B0-B2C7-F33ABC89C4D4}" dt="2023-08-03T01:28:59.876" v="2298"/>
        <pc:sldMkLst>
          <pc:docMk/>
          <pc:sldMk cId="3308691083" sldId="2147473070"/>
        </pc:sldMkLst>
      </pc:sldChg>
      <pc:sldChg chg="addSp delSp modSp mod ord">
        <pc:chgData name="Chen, Ryan" userId="aca00709-f626-4c6e-ba10-d5632b32d240" providerId="ADAL" clId="{7E3BD3FD-C980-42B0-B2C7-F33ABC89C4D4}" dt="2023-08-03T01:28:59.876" v="2298"/>
        <pc:sldMkLst>
          <pc:docMk/>
          <pc:sldMk cId="3308257767" sldId="2147473077"/>
        </pc:sldMkLst>
      </pc:sldChg>
      <pc:sldChg chg="addSp delSp modSp mod ord">
        <pc:chgData name="Chen, Ryan" userId="aca00709-f626-4c6e-ba10-d5632b32d240" providerId="ADAL" clId="{7E3BD3FD-C980-42B0-B2C7-F33ABC89C4D4}" dt="2023-08-03T01:28:59.876" v="2298"/>
        <pc:sldMkLst>
          <pc:docMk/>
          <pc:sldMk cId="218532950" sldId="2147473083"/>
        </pc:sldMkLst>
      </pc:sldChg>
      <pc:sldChg chg="modSp mod">
        <pc:chgData name="Chen, Ryan" userId="aca00709-f626-4c6e-ba10-d5632b32d240" providerId="ADAL" clId="{7E3BD3FD-C980-42B0-B2C7-F33ABC89C4D4}" dt="2023-08-04T04:15:09.463" v="2900" actId="207"/>
        <pc:sldMkLst>
          <pc:docMk/>
          <pc:sldMk cId="606718045" sldId="2147473084"/>
        </pc:sldMkLst>
      </pc:sldChg>
      <pc:sldChg chg="del">
        <pc:chgData name="Chen, Ryan" userId="aca00709-f626-4c6e-ba10-d5632b32d240" providerId="ADAL" clId="{7E3BD3FD-C980-42B0-B2C7-F33ABC89C4D4}" dt="2023-08-03T01:04:49.172" v="620" actId="47"/>
        <pc:sldMkLst>
          <pc:docMk/>
          <pc:sldMk cId="1719427300" sldId="2147473085"/>
        </pc:sldMkLst>
      </pc:sldChg>
      <pc:sldChg chg="addSp delSp modSp mod ord">
        <pc:chgData name="Chen, Ryan" userId="aca00709-f626-4c6e-ba10-d5632b32d240" providerId="ADAL" clId="{7E3BD3FD-C980-42B0-B2C7-F33ABC89C4D4}" dt="2023-08-03T01:28:59.876" v="2298"/>
        <pc:sldMkLst>
          <pc:docMk/>
          <pc:sldMk cId="57341808" sldId="2147473087"/>
        </pc:sldMkLst>
      </pc:sldChg>
      <pc:sldChg chg="addSp delSp modSp mod ord">
        <pc:chgData name="Chen, Ryan" userId="aca00709-f626-4c6e-ba10-d5632b32d240" providerId="ADAL" clId="{7E3BD3FD-C980-42B0-B2C7-F33ABC89C4D4}" dt="2023-08-03T01:28:59.876" v="2298"/>
        <pc:sldMkLst>
          <pc:docMk/>
          <pc:sldMk cId="3309807860" sldId="2147473088"/>
        </pc:sldMkLst>
      </pc:sldChg>
      <pc:sldChg chg="del">
        <pc:chgData name="Chen, Ryan" userId="aca00709-f626-4c6e-ba10-d5632b32d240" providerId="ADAL" clId="{7E3BD3FD-C980-42B0-B2C7-F33ABC89C4D4}" dt="2023-08-03T01:28:37.971" v="2292" actId="47"/>
        <pc:sldMkLst>
          <pc:docMk/>
          <pc:sldMk cId="2577552658" sldId="2147473089"/>
        </pc:sldMkLst>
      </pc:sldChg>
      <pc:sldChg chg="addSp delSp modSp mod ord">
        <pc:chgData name="Chen, Ryan" userId="aca00709-f626-4c6e-ba10-d5632b32d240" providerId="ADAL" clId="{7E3BD3FD-C980-42B0-B2C7-F33ABC89C4D4}" dt="2023-08-03T01:28:59.876" v="2298"/>
        <pc:sldMkLst>
          <pc:docMk/>
          <pc:sldMk cId="3327270563" sldId="2147473093"/>
        </pc:sldMkLst>
      </pc:sldChg>
      <pc:sldChg chg="addSp delSp modSp mod ord">
        <pc:chgData name="Chen, Ryan" userId="aca00709-f626-4c6e-ba10-d5632b32d240" providerId="ADAL" clId="{7E3BD3FD-C980-42B0-B2C7-F33ABC89C4D4}" dt="2023-08-03T01:30:26.693" v="2301"/>
        <pc:sldMkLst>
          <pc:docMk/>
          <pc:sldMk cId="2749065764" sldId="2147473095"/>
        </pc:sldMkLst>
      </pc:sldChg>
      <pc:sldChg chg="addSp delSp modSp mod">
        <pc:chgData name="Chen, Ryan" userId="aca00709-f626-4c6e-ba10-d5632b32d240" providerId="ADAL" clId="{7E3BD3FD-C980-42B0-B2C7-F33ABC89C4D4}" dt="2023-08-03T01:15:07.384" v="2056"/>
        <pc:sldMkLst>
          <pc:docMk/>
          <pc:sldMk cId="2178920054" sldId="2147473099"/>
        </pc:sldMkLst>
      </pc:sldChg>
      <pc:sldChg chg="del">
        <pc:chgData name="Chen, Ryan" userId="aca00709-f626-4c6e-ba10-d5632b32d240" providerId="ADAL" clId="{7E3BD3FD-C980-42B0-B2C7-F33ABC89C4D4}" dt="2023-08-03T01:28:41.244" v="2295" actId="47"/>
        <pc:sldMkLst>
          <pc:docMk/>
          <pc:sldMk cId="209650220" sldId="2147473100"/>
        </pc:sldMkLst>
      </pc:sldChg>
      <pc:sldChg chg="addSp delSp modSp del mod">
        <pc:chgData name="Chen, Ryan" userId="aca00709-f626-4c6e-ba10-d5632b32d240" providerId="ADAL" clId="{7E3BD3FD-C980-42B0-B2C7-F33ABC89C4D4}" dt="2023-08-03T01:30:18.922" v="2299" actId="47"/>
        <pc:sldMkLst>
          <pc:docMk/>
          <pc:sldMk cId="2345318693" sldId="2147473101"/>
        </pc:sldMkLst>
      </pc:sldChg>
      <pc:sldChg chg="addSp delSp modSp add mod modShow">
        <pc:chgData name="Chen, Ryan" userId="aca00709-f626-4c6e-ba10-d5632b32d240" providerId="ADAL" clId="{7E3BD3FD-C980-42B0-B2C7-F33ABC89C4D4}" dt="2023-08-03T07:45:53.259" v="2311" actId="729"/>
        <pc:sldMkLst>
          <pc:docMk/>
          <pc:sldMk cId="2553963251" sldId="2147473104"/>
        </pc:sldMkLst>
      </pc:sldChg>
      <pc:sldChg chg="addSp delSp modSp mod">
        <pc:chgData name="Chen, Ryan" userId="aca00709-f626-4c6e-ba10-d5632b32d240" providerId="ADAL" clId="{7E3BD3FD-C980-42B0-B2C7-F33ABC89C4D4}" dt="2023-08-03T01:15:07.527" v="2109"/>
        <pc:sldMkLst>
          <pc:docMk/>
          <pc:sldMk cId="4158958966" sldId="2147473105"/>
        </pc:sldMkLst>
      </pc:sldChg>
      <pc:sldChg chg="addSp delSp modSp add mod modShow">
        <pc:chgData name="Chen, Ryan" userId="aca00709-f626-4c6e-ba10-d5632b32d240" providerId="ADAL" clId="{7E3BD3FD-C980-42B0-B2C7-F33ABC89C4D4}" dt="2023-08-03T07:45:53.259" v="2311" actId="729"/>
        <pc:sldMkLst>
          <pc:docMk/>
          <pc:sldMk cId="3462806789" sldId="2147473106"/>
        </pc:sldMkLst>
      </pc:sldChg>
      <pc:sldChg chg="addSp modSp add mod modShow">
        <pc:chgData name="Chen, Ryan" userId="aca00709-f626-4c6e-ba10-d5632b32d240" providerId="ADAL" clId="{7E3BD3FD-C980-42B0-B2C7-F33ABC89C4D4}" dt="2023-08-03T07:45:53.259" v="2311" actId="729"/>
        <pc:sldMkLst>
          <pc:docMk/>
          <pc:sldMk cId="1149982064" sldId="2147473108"/>
        </pc:sldMkLst>
      </pc:sldChg>
      <pc:sldChg chg="addSp delSp modSp mod ord">
        <pc:chgData name="Chen, Ryan" userId="aca00709-f626-4c6e-ba10-d5632b32d240" providerId="ADAL" clId="{7E3BD3FD-C980-42B0-B2C7-F33ABC89C4D4}" dt="2023-08-03T01:30:26.693" v="2301"/>
        <pc:sldMkLst>
          <pc:docMk/>
          <pc:sldMk cId="1864732555" sldId="2147473113"/>
        </pc:sldMkLst>
      </pc:sldChg>
      <pc:sldChg chg="del">
        <pc:chgData name="Chen, Ryan" userId="aca00709-f626-4c6e-ba10-d5632b32d240" providerId="ADAL" clId="{7E3BD3FD-C980-42B0-B2C7-F33ABC89C4D4}" dt="2023-08-03T01:28:40.208" v="2294" actId="47"/>
        <pc:sldMkLst>
          <pc:docMk/>
          <pc:sldMk cId="4116700547" sldId="2147473114"/>
        </pc:sldMkLst>
      </pc:sldChg>
      <pc:sldChg chg="modSp">
        <pc:chgData name="Chen, Ryan" userId="aca00709-f626-4c6e-ba10-d5632b32d240" providerId="ADAL" clId="{7E3BD3FD-C980-42B0-B2C7-F33ABC89C4D4}" dt="2023-08-04T04:38:00.922" v="2902"/>
        <pc:sldMkLst>
          <pc:docMk/>
          <pc:sldMk cId="670170616" sldId="2147473115"/>
        </pc:sldMkLst>
      </pc:sldChg>
      <pc:sldChg chg="del">
        <pc:chgData name="Chen, Ryan" userId="aca00709-f626-4c6e-ba10-d5632b32d240" providerId="ADAL" clId="{7E3BD3FD-C980-42B0-B2C7-F33ABC89C4D4}" dt="2023-08-03T01:28:39.303" v="2293" actId="47"/>
        <pc:sldMkLst>
          <pc:docMk/>
          <pc:sldMk cId="4047454075" sldId="2147473115"/>
        </pc:sldMkLst>
      </pc:sldChg>
      <pc:sldChg chg="delSp modSp del mod">
        <pc:chgData name="Chen, Ryan" userId="aca00709-f626-4c6e-ba10-d5632b32d240" providerId="ADAL" clId="{7E3BD3FD-C980-42B0-B2C7-F33ABC89C4D4}" dt="2023-08-03T01:14:41.071" v="1426" actId="2696"/>
        <pc:sldMkLst>
          <pc:docMk/>
          <pc:sldMk cId="2001758025" sldId="2147473116"/>
        </pc:sldMkLst>
      </pc:sldChg>
      <pc:sldChg chg="delSp modSp del mod">
        <pc:chgData name="Chen, Ryan" userId="aca00709-f626-4c6e-ba10-d5632b32d240" providerId="ADAL" clId="{7E3BD3FD-C980-42B0-B2C7-F33ABC89C4D4}" dt="2023-08-03T01:03:37.934" v="617" actId="2696"/>
        <pc:sldMkLst>
          <pc:docMk/>
          <pc:sldMk cId="2159556513" sldId="2147473116"/>
        </pc:sldMkLst>
      </pc:sldChg>
      <pc:sldChg chg="del">
        <pc:chgData name="Chen, Ryan" userId="aca00709-f626-4c6e-ba10-d5632b32d240" providerId="ADAL" clId="{7E3BD3FD-C980-42B0-B2C7-F33ABC89C4D4}" dt="2023-08-03T01:03:37.926" v="614" actId="2696"/>
        <pc:sldMkLst>
          <pc:docMk/>
          <pc:sldMk cId="1340838470" sldId="2147473117"/>
        </pc:sldMkLst>
      </pc:sldChg>
      <pc:sldChg chg="del">
        <pc:chgData name="Chen, Ryan" userId="aca00709-f626-4c6e-ba10-d5632b32d240" providerId="ADAL" clId="{7E3BD3FD-C980-42B0-B2C7-F33ABC89C4D4}" dt="2023-08-03T01:14:41.062" v="1423" actId="2696"/>
        <pc:sldMkLst>
          <pc:docMk/>
          <pc:sldMk cId="2202375556" sldId="2147473117"/>
        </pc:sldMkLst>
      </pc:sldChg>
      <pc:sldChg chg="del">
        <pc:chgData name="Chen, Ryan" userId="aca00709-f626-4c6e-ba10-d5632b32d240" providerId="ADAL" clId="{7E3BD3FD-C980-42B0-B2C7-F33ABC89C4D4}" dt="2023-08-03T01:14:41.046" v="1422" actId="2696"/>
        <pc:sldMkLst>
          <pc:docMk/>
          <pc:sldMk cId="1063866954" sldId="2147473118"/>
        </pc:sldMkLst>
      </pc:sldChg>
      <pc:sldChg chg="del">
        <pc:chgData name="Chen, Ryan" userId="aca00709-f626-4c6e-ba10-d5632b32d240" providerId="ADAL" clId="{7E3BD3FD-C980-42B0-B2C7-F33ABC89C4D4}" dt="2023-08-03T01:03:37.926" v="613" actId="2696"/>
        <pc:sldMkLst>
          <pc:docMk/>
          <pc:sldMk cId="2086313464" sldId="2147473118"/>
        </pc:sldMkLst>
      </pc:sldChg>
      <pc:sldChg chg="addSp delSp modSp mod replTag">
        <pc:chgData name="Chen, Ryan" userId="aca00709-f626-4c6e-ba10-d5632b32d240" providerId="ADAL" clId="{7E3BD3FD-C980-42B0-B2C7-F33ABC89C4D4}" dt="2023-08-03T01:15:07.686" v="2160"/>
        <pc:sldMkLst>
          <pc:docMk/>
          <pc:sldMk cId="2741573247" sldId="2147473119"/>
        </pc:sldMkLst>
      </pc:sldChg>
      <pc:sldChg chg="delSp modSp del mod">
        <pc:chgData name="Chen, Ryan" userId="aca00709-f626-4c6e-ba10-d5632b32d240" providerId="ADAL" clId="{7E3BD3FD-C980-42B0-B2C7-F33ABC89C4D4}" dt="2023-08-03T01:15:07.796" v="2205" actId="2696"/>
        <pc:sldMkLst>
          <pc:docMk/>
          <pc:sldMk cId="228579128" sldId="2147473120"/>
        </pc:sldMkLst>
      </pc:sldChg>
      <pc:sldChg chg="addSp modSp add mod">
        <pc:chgData name="Chen, Ryan" userId="aca00709-f626-4c6e-ba10-d5632b32d240" providerId="ADAL" clId="{7E3BD3FD-C980-42B0-B2C7-F33ABC89C4D4}" dt="2023-08-04T04:11:17.608" v="2863" actId="20577"/>
        <pc:sldMkLst>
          <pc:docMk/>
          <pc:sldMk cId="1806998817" sldId="2147473120"/>
        </pc:sldMkLst>
      </pc:sldChg>
      <pc:sldChg chg="add mod modShow">
        <pc:chgData name="Chen, Ryan" userId="aca00709-f626-4c6e-ba10-d5632b32d240" providerId="ADAL" clId="{7E3BD3FD-C980-42B0-B2C7-F33ABC89C4D4}" dt="2023-08-03T08:18:02.345" v="2368" actId="729"/>
        <pc:sldMkLst>
          <pc:docMk/>
          <pc:sldMk cId="623994581" sldId="2147473121"/>
        </pc:sldMkLst>
      </pc:sldChg>
      <pc:sldChg chg="del">
        <pc:chgData name="Chen, Ryan" userId="aca00709-f626-4c6e-ba10-d5632b32d240" providerId="ADAL" clId="{7E3BD3FD-C980-42B0-B2C7-F33ABC89C4D4}" dt="2023-08-03T01:15:07.788" v="2202" actId="2696"/>
        <pc:sldMkLst>
          <pc:docMk/>
          <pc:sldMk cId="3227486815" sldId="2147473121"/>
        </pc:sldMkLst>
      </pc:sldChg>
      <pc:sldChg chg="del">
        <pc:chgData name="Chen, Ryan" userId="aca00709-f626-4c6e-ba10-d5632b32d240" providerId="ADAL" clId="{7E3BD3FD-C980-42B0-B2C7-F33ABC89C4D4}" dt="2023-08-03T01:15:07.778" v="2201" actId="2696"/>
        <pc:sldMkLst>
          <pc:docMk/>
          <pc:sldMk cId="1317781165" sldId="2147473122"/>
        </pc:sldMkLst>
      </pc:sldChg>
      <pc:sldChg chg="modSp">
        <pc:chgData name="Chen, Ryan" userId="aca00709-f626-4c6e-ba10-d5632b32d240" providerId="ADAL" clId="{7E3BD3FD-C980-42B0-B2C7-F33ABC89C4D4}" dt="2023-08-04T04:37:43.069" v="2901"/>
        <pc:sldMkLst>
          <pc:docMk/>
          <pc:sldMk cId="2639893114" sldId="2147473122"/>
        </pc:sldMkLst>
      </pc:sldChg>
      <pc:sldChg chg="modSp">
        <pc:chgData name="Chen, Ryan" userId="aca00709-f626-4c6e-ba10-d5632b32d240" providerId="ADAL" clId="{7E3BD3FD-C980-42B0-B2C7-F33ABC89C4D4}" dt="2023-08-04T04:38:23.138" v="2903"/>
        <pc:sldMkLst>
          <pc:docMk/>
          <pc:sldMk cId="3081104935" sldId="2147473123"/>
        </pc:sldMkLst>
      </pc:sldChg>
      <pc:sldChg chg="modSp mod">
        <pc:chgData name="Chen, Ryan" userId="aca00709-f626-4c6e-ba10-d5632b32d240" providerId="ADAL" clId="{7E3BD3FD-C980-42B0-B2C7-F33ABC89C4D4}" dt="2023-08-04T04:14:28.734" v="2898" actId="20577"/>
        <pc:sldMkLst>
          <pc:docMk/>
          <pc:sldMk cId="1886465168" sldId="2147473124"/>
        </pc:sldMkLst>
      </pc:sldChg>
    </pc:docChg>
  </pc:docChgLst>
  <pc:docChgLst>
    <pc:chgData name="Hsieh, Shawn" userId="f93cd79d-7438-4359-8c75-142aea53e1dd" providerId="ADAL" clId="{1FCC0E25-82AB-4956-9341-DDE06E86F245}"/>
    <pc:docChg chg="custSel addSld modSld">
      <pc:chgData name="Hsieh, Shawn" userId="f93cd79d-7438-4359-8c75-142aea53e1dd" providerId="ADAL" clId="{1FCC0E25-82AB-4956-9341-DDE06E86F245}" dt="2023-07-21T03:23:21.259" v="41" actId="20577"/>
      <pc:docMkLst>
        <pc:docMk/>
      </pc:docMkLst>
      <pc:sldChg chg="addSp delSp modSp add mod">
        <pc:chgData name="Hsieh, Shawn" userId="f93cd79d-7438-4359-8c75-142aea53e1dd" providerId="ADAL" clId="{1FCC0E25-82AB-4956-9341-DDE06E86F245}" dt="2023-07-21T03:23:21.259" v="41" actId="20577"/>
        <pc:sldMkLst>
          <pc:docMk/>
          <pc:sldMk cId="1864732555" sldId="2147473113"/>
        </pc:sldMkLst>
      </pc:sldChg>
    </pc:docChg>
  </pc:docChgLst>
  <pc:docChgLst>
    <pc:chgData name="Chen, Ryan" userId="aca00709-f626-4c6e-ba10-d5632b32d240" providerId="ADAL" clId="{4BC183C2-6714-4D40-8B5C-1A5C33817FA0}"/>
    <pc:docChg chg="undo custSel modSld">
      <pc:chgData name="Chen, Ryan" userId="aca00709-f626-4c6e-ba10-d5632b32d240" providerId="ADAL" clId="{4BC183C2-6714-4D40-8B5C-1A5C33817FA0}" dt="2023-08-10T16:12:53.044" v="21" actId="20577"/>
      <pc:docMkLst>
        <pc:docMk/>
      </pc:docMkLst>
      <pc:sldChg chg="modSp mod">
        <pc:chgData name="Chen, Ryan" userId="aca00709-f626-4c6e-ba10-d5632b32d240" providerId="ADAL" clId="{4BC183C2-6714-4D40-8B5C-1A5C33817FA0}" dt="2023-08-10T10:24:25.449" v="0" actId="207"/>
        <pc:sldMkLst>
          <pc:docMk/>
          <pc:sldMk cId="606718045" sldId="2147473084"/>
        </pc:sldMkLst>
      </pc:sldChg>
      <pc:sldChg chg="modSp mod">
        <pc:chgData name="Chen, Ryan" userId="aca00709-f626-4c6e-ba10-d5632b32d240" providerId="ADAL" clId="{4BC183C2-6714-4D40-8B5C-1A5C33817FA0}" dt="2023-08-10T16:12:53.044" v="21" actId="20577"/>
        <pc:sldMkLst>
          <pc:docMk/>
          <pc:sldMk cId="1806998817" sldId="2147473120"/>
        </pc:sldMkLst>
      </pc:sldChg>
    </pc:docChg>
  </pc:docChgLst>
  <pc:docChgLst>
    <pc:chgData name="Chou, Ricky" userId="5a600072-2550-46c4-a60e-7fd5c990f13b" providerId="ADAL" clId="{4D87A7ED-78B0-4B39-B1BD-8DFB9667C9A9}"/>
    <pc:docChg chg="addSld modSld">
      <pc:chgData name="Chou, Ricky" userId="5a600072-2550-46c4-a60e-7fd5c990f13b" providerId="ADAL" clId="{4D87A7ED-78B0-4B39-B1BD-8DFB9667C9A9}" dt="2023-07-14T03:41:16.147" v="1"/>
      <pc:docMkLst>
        <pc:docMk/>
      </pc:docMkLst>
      <pc:sldChg chg="add">
        <pc:chgData name="Chou, Ricky" userId="5a600072-2550-46c4-a60e-7fd5c990f13b" providerId="ADAL" clId="{4D87A7ED-78B0-4B39-B1BD-8DFB9667C9A9}" dt="2023-07-14T03:41:10.255" v="0"/>
        <pc:sldMkLst>
          <pc:docMk/>
          <pc:sldMk cId="3912291754" sldId="622"/>
        </pc:sldMkLst>
      </pc:sldChg>
      <pc:sldChg chg="add">
        <pc:chgData name="Chou, Ricky" userId="5a600072-2550-46c4-a60e-7fd5c990f13b" providerId="ADAL" clId="{4D87A7ED-78B0-4B39-B1BD-8DFB9667C9A9}" dt="2023-07-14T03:41:16.147" v="1"/>
        <pc:sldMkLst>
          <pc:docMk/>
          <pc:sldMk cId="3674693808" sldId="623"/>
        </pc:sldMkLst>
      </pc:sldChg>
    </pc:docChg>
  </pc:docChgLst>
  <pc:docChgLst>
    <pc:chgData name="Chou, Ricky" userId="5a600072-2550-46c4-a60e-7fd5c990f13b" providerId="ADAL" clId="{878CD7CD-0E8E-4CF6-B765-88C14E18A503}"/>
    <pc:docChg chg="addSld modSld">
      <pc:chgData name="Chou, Ricky" userId="5a600072-2550-46c4-a60e-7fd5c990f13b" providerId="ADAL" clId="{878CD7CD-0E8E-4CF6-B765-88C14E18A503}" dt="2023-08-03T09:15:22.280" v="0"/>
      <pc:docMkLst>
        <pc:docMk/>
      </pc:docMkLst>
      <pc:sldChg chg="add">
        <pc:chgData name="Chou, Ricky" userId="5a600072-2550-46c4-a60e-7fd5c990f13b" providerId="ADAL" clId="{878CD7CD-0E8E-4CF6-B765-88C14E18A503}" dt="2023-08-03T09:15:22.280" v="0"/>
        <pc:sldMkLst>
          <pc:docMk/>
          <pc:sldMk cId="461710636" sldId="623"/>
        </pc:sldMkLst>
      </pc:sldChg>
      <pc:sldChg chg="add">
        <pc:chgData name="Chou, Ricky" userId="5a600072-2550-46c4-a60e-7fd5c990f13b" providerId="ADAL" clId="{878CD7CD-0E8E-4CF6-B765-88C14E18A503}" dt="2023-08-03T09:15:22.280" v="0"/>
        <pc:sldMkLst>
          <pc:docMk/>
          <pc:sldMk cId="3334272121" sldId="624"/>
        </pc:sldMkLst>
      </pc:sldChg>
      <pc:sldChg chg="add">
        <pc:chgData name="Chou, Ricky" userId="5a600072-2550-46c4-a60e-7fd5c990f13b" providerId="ADAL" clId="{878CD7CD-0E8E-4CF6-B765-88C14E18A503}" dt="2023-08-03T09:15:22.280" v="0"/>
        <pc:sldMkLst>
          <pc:docMk/>
          <pc:sldMk cId="3457152266" sldId="625"/>
        </pc:sldMkLst>
      </pc:sldChg>
      <pc:sldChg chg="add">
        <pc:chgData name="Chou, Ricky" userId="5a600072-2550-46c4-a60e-7fd5c990f13b" providerId="ADAL" clId="{878CD7CD-0E8E-4CF6-B765-88C14E18A503}" dt="2023-08-03T09:15:22.280" v="0"/>
        <pc:sldMkLst>
          <pc:docMk/>
          <pc:sldMk cId="2662852432" sldId="626"/>
        </pc:sldMkLst>
      </pc:sldChg>
      <pc:sldChg chg="add">
        <pc:chgData name="Chou, Ricky" userId="5a600072-2550-46c4-a60e-7fd5c990f13b" providerId="ADAL" clId="{878CD7CD-0E8E-4CF6-B765-88C14E18A503}" dt="2023-08-03T09:15:22.280" v="0"/>
        <pc:sldMkLst>
          <pc:docMk/>
          <pc:sldMk cId="1322177041" sldId="627"/>
        </pc:sldMkLst>
      </pc:sldChg>
      <pc:sldChg chg="add">
        <pc:chgData name="Chou, Ricky" userId="5a600072-2550-46c4-a60e-7fd5c990f13b" providerId="ADAL" clId="{878CD7CD-0E8E-4CF6-B765-88C14E18A503}" dt="2023-08-03T09:15:22.280" v="0"/>
        <pc:sldMkLst>
          <pc:docMk/>
          <pc:sldMk cId="1808990223" sldId="628"/>
        </pc:sldMkLst>
      </pc:sldChg>
    </pc:docChg>
  </pc:docChgLst>
  <pc:docChgLst>
    <pc:chgData name="Chung, Steven" userId="S::steven.chung@zeiss.com::2b3d8430-5b47-4ecd-bf64-3ec3dd086abe" providerId="AD" clId="Web-{4D00A5B3-D797-7FA2-ACA9-EA05DDB5B26B}"/>
    <pc:docChg chg="sldOrd">
      <pc:chgData name="Chung, Steven" userId="S::steven.chung@zeiss.com::2b3d8430-5b47-4ecd-bf64-3ec3dd086abe" providerId="AD" clId="Web-{4D00A5B3-D797-7FA2-ACA9-EA05DDB5B26B}" dt="2023-08-03T07:51:08.186" v="1"/>
      <pc:docMkLst>
        <pc:docMk/>
      </pc:docMkLst>
      <pc:sldChg chg="ord">
        <pc:chgData name="Chung, Steven" userId="S::steven.chung@zeiss.com::2b3d8430-5b47-4ecd-bf64-3ec3dd086abe" providerId="AD" clId="Web-{4D00A5B3-D797-7FA2-ACA9-EA05DDB5B26B}" dt="2023-08-03T07:51:08.186" v="1"/>
        <pc:sldMkLst>
          <pc:docMk/>
          <pc:sldMk cId="57341808" sldId="2147473087"/>
        </pc:sldMkLst>
      </pc:sldChg>
    </pc:docChg>
  </pc:docChgLst>
  <pc:docChgLst>
    <pc:chgData clId="Web-{95D72AF6-16CB-2AD1-378B-93E1D31318E8}"/>
    <pc:docChg chg="addSld modSection">
      <pc:chgData name="" userId="" providerId="" clId="Web-{95D72AF6-16CB-2AD1-378B-93E1D31318E8}" dt="2023-07-14T03:30:20.088" v="0"/>
      <pc:docMkLst>
        <pc:docMk/>
      </pc:docMkLst>
      <pc:sldChg chg="new">
        <pc:chgData name="" userId="" providerId="" clId="Web-{95D72AF6-16CB-2AD1-378B-93E1D31318E8}" dt="2023-07-14T03:30:20.088" v="0"/>
        <pc:sldMkLst>
          <pc:docMk/>
          <pc:sldMk cId="3897171344" sldId="2147473106"/>
        </pc:sldMkLst>
      </pc:sldChg>
    </pc:docChg>
  </pc:docChgLst>
  <pc:docChgLst>
    <pc:chgData name="Hsieh, Shawn" userId="f93cd79d-7438-4359-8c75-142aea53e1dd" providerId="ADAL" clId="{CCCBE923-8918-4AA3-8C9A-E4FBA47320CA}"/>
    <pc:docChg chg="undo redo custSel addSld delSld modSld modSection">
      <pc:chgData name="Hsieh, Shawn" userId="f93cd79d-7438-4359-8c75-142aea53e1dd" providerId="ADAL" clId="{CCCBE923-8918-4AA3-8C9A-E4FBA47320CA}" dt="2023-08-09T00:55:01.843" v="291" actId="20577"/>
      <pc:docMkLst>
        <pc:docMk/>
      </pc:docMkLst>
      <pc:sldChg chg="modSp mod">
        <pc:chgData name="Hsieh, Shawn" userId="f93cd79d-7438-4359-8c75-142aea53e1dd" providerId="ADAL" clId="{CCCBE923-8918-4AA3-8C9A-E4FBA47320CA}" dt="2023-08-04T03:38:51.349" v="13" actId="20577"/>
        <pc:sldMkLst>
          <pc:docMk/>
          <pc:sldMk cId="606718045" sldId="2147473084"/>
        </pc:sldMkLst>
      </pc:sldChg>
      <pc:sldChg chg="del">
        <pc:chgData name="Hsieh, Shawn" userId="f93cd79d-7438-4359-8c75-142aea53e1dd" providerId="ADAL" clId="{CCCBE923-8918-4AA3-8C9A-E4FBA47320CA}" dt="2023-08-04T03:37:40.379" v="1" actId="47"/>
        <pc:sldMkLst>
          <pc:docMk/>
          <pc:sldMk cId="2749065764" sldId="2147473095"/>
        </pc:sldMkLst>
      </pc:sldChg>
      <pc:sldChg chg="del">
        <pc:chgData name="Hsieh, Shawn" userId="f93cd79d-7438-4359-8c75-142aea53e1dd" providerId="ADAL" clId="{CCCBE923-8918-4AA3-8C9A-E4FBA47320CA}" dt="2023-08-04T03:37:40.379" v="1" actId="47"/>
        <pc:sldMkLst>
          <pc:docMk/>
          <pc:sldMk cId="1864732555" sldId="2147473113"/>
        </pc:sldMkLst>
      </pc:sldChg>
      <pc:sldChg chg="addSp delSp modSp add mod">
        <pc:chgData name="Hsieh, Shawn" userId="f93cd79d-7438-4359-8c75-142aea53e1dd" providerId="ADAL" clId="{CCCBE923-8918-4AA3-8C9A-E4FBA47320CA}" dt="2023-08-09T00:55:01.843" v="291" actId="20577"/>
        <pc:sldMkLst>
          <pc:docMk/>
          <pc:sldMk cId="670170616" sldId="2147473115"/>
        </pc:sldMkLst>
      </pc:sldChg>
      <pc:sldChg chg="add">
        <pc:chgData name="Hsieh, Shawn" userId="f93cd79d-7438-4359-8c75-142aea53e1dd" providerId="ADAL" clId="{CCCBE923-8918-4AA3-8C9A-E4FBA47320CA}" dt="2023-08-04T03:37:37.305" v="0"/>
        <pc:sldMkLst>
          <pc:docMk/>
          <pc:sldMk cId="2639893114" sldId="2147473122"/>
        </pc:sldMkLst>
      </pc:sldChg>
      <pc:sldChg chg="add">
        <pc:chgData name="Hsieh, Shawn" userId="f93cd79d-7438-4359-8c75-142aea53e1dd" providerId="ADAL" clId="{CCCBE923-8918-4AA3-8C9A-E4FBA47320CA}" dt="2023-08-04T03:37:37.305" v="0"/>
        <pc:sldMkLst>
          <pc:docMk/>
          <pc:sldMk cId="3081104935" sldId="2147473123"/>
        </pc:sldMkLst>
      </pc:sldChg>
    </pc:docChg>
  </pc:docChgLst>
  <pc:docChgLst>
    <pc:chgData name="Chung, Steven" userId="S::steven.chung@zeiss.com::2b3d8430-5b47-4ecd-bf64-3ec3dd086abe" providerId="AD" clId="Web-{7185D5E2-F3F4-949C-6B8E-0A78979F589A}"/>
    <pc:docChg chg="modSld sldOrd">
      <pc:chgData name="Chung, Steven" userId="S::steven.chung@zeiss.com::2b3d8430-5b47-4ecd-bf64-3ec3dd086abe" providerId="AD" clId="Web-{7185D5E2-F3F4-949C-6B8E-0A78979F589A}" dt="2023-08-18T02:07:25.905" v="12"/>
      <pc:docMkLst>
        <pc:docMk/>
      </pc:docMkLst>
      <pc:sldChg chg="ord">
        <pc:chgData name="Chung, Steven" userId="S::steven.chung@zeiss.com::2b3d8430-5b47-4ecd-bf64-3ec3dd086abe" providerId="AD" clId="Web-{7185D5E2-F3F4-949C-6B8E-0A78979F589A}" dt="2023-08-18T02:05:50.433" v="11"/>
        <pc:sldMkLst>
          <pc:docMk/>
          <pc:sldMk cId="1806998817" sldId="2147473120"/>
        </pc:sldMkLst>
      </pc:sldChg>
      <pc:sldChg chg="modSp">
        <pc:chgData name="Chung, Steven" userId="S::steven.chung@zeiss.com::2b3d8430-5b47-4ecd-bf64-3ec3dd086abe" providerId="AD" clId="Web-{7185D5E2-F3F4-949C-6B8E-0A78979F589A}" dt="2023-08-18T02:05:49.417" v="10" actId="20577"/>
        <pc:sldMkLst>
          <pc:docMk/>
          <pc:sldMk cId="3335660132" sldId="2147473133"/>
        </pc:sldMkLst>
      </pc:sldChg>
      <pc:sldChg chg="ord">
        <pc:chgData name="Chung, Steven" userId="S::steven.chung@zeiss.com::2b3d8430-5b47-4ecd-bf64-3ec3dd086abe" providerId="AD" clId="Web-{7185D5E2-F3F4-949C-6B8E-0A78979F589A}" dt="2023-08-18T02:07:25.905" v="12"/>
        <pc:sldMkLst>
          <pc:docMk/>
          <pc:sldMk cId="1790399634" sldId="2147473137"/>
        </pc:sldMkLst>
      </pc:sldChg>
    </pc:docChg>
  </pc:docChgLst>
  <pc:docChgLst>
    <pc:chgData name="Kuo, Davian" userId="f0f04098-50d6-4562-8c6e-1bff3921f330" providerId="ADAL" clId="{5F9E2EF2-706F-43C5-90E3-17459D47E305}"/>
    <pc:docChg chg="undo custSel addSld delSld modSld modSection">
      <pc:chgData name="Kuo, Davian" userId="f0f04098-50d6-4562-8c6e-1bff3921f330" providerId="ADAL" clId="{5F9E2EF2-706F-43C5-90E3-17459D47E305}" dt="2024-05-07T00:46:25.163" v="2514" actId="20577"/>
      <pc:docMkLst>
        <pc:docMk/>
      </pc:docMkLst>
      <pc:sldChg chg="add del">
        <pc:chgData name="Kuo, Davian" userId="f0f04098-50d6-4562-8c6e-1bff3921f330" providerId="ADAL" clId="{5F9E2EF2-706F-43C5-90E3-17459D47E305}" dt="2024-05-06T14:01:52.276" v="3" actId="47"/>
        <pc:sldMkLst>
          <pc:docMk/>
          <pc:sldMk cId="3887982491" sldId="272"/>
        </pc:sldMkLst>
      </pc:sldChg>
      <pc:sldChg chg="addSp delSp modSp add mod delAnim modAnim">
        <pc:chgData name="Kuo, Davian" userId="f0f04098-50d6-4562-8c6e-1bff3921f330" providerId="ADAL" clId="{5F9E2EF2-706F-43C5-90E3-17459D47E305}" dt="2024-05-07T00:46:25.163" v="2514" actId="20577"/>
        <pc:sldMkLst>
          <pc:docMk/>
          <pc:sldMk cId="428255641" sldId="2147473191"/>
        </pc:sldMkLst>
      </pc:sldChg>
      <pc:sldChg chg="addSp delSp modSp add mod modAnim">
        <pc:chgData name="Kuo, Davian" userId="f0f04098-50d6-4562-8c6e-1bff3921f330" providerId="ADAL" clId="{5F9E2EF2-706F-43C5-90E3-17459D47E305}" dt="2024-05-07T00:41:41.071" v="2461" actId="20577"/>
        <pc:sldMkLst>
          <pc:docMk/>
          <pc:sldMk cId="3561931933" sldId="2147473192"/>
        </pc:sldMkLst>
      </pc:sldChg>
      <pc:sldChg chg="addSp delSp modSp add mod modAnim">
        <pc:chgData name="Kuo, Davian" userId="f0f04098-50d6-4562-8c6e-1bff3921f330" providerId="ADAL" clId="{5F9E2EF2-706F-43C5-90E3-17459D47E305}" dt="2024-05-07T00:41:50.842" v="2510"/>
        <pc:sldMkLst>
          <pc:docMk/>
          <pc:sldMk cId="423386077" sldId="2147473193"/>
        </pc:sldMkLst>
      </pc:sldChg>
      <pc:sldChg chg="del">
        <pc:chgData name="Kuo, Davian" userId="f0f04098-50d6-4562-8c6e-1bff3921f330" providerId="ADAL" clId="{5F9E2EF2-706F-43C5-90E3-17459D47E305}" dt="2024-05-06T14:01:48.497" v="0" actId="47"/>
        <pc:sldMkLst>
          <pc:docMk/>
          <pc:sldMk cId="3966866839" sldId="2147473202"/>
        </pc:sldMkLst>
      </pc:sldChg>
      <pc:sldChg chg="del">
        <pc:chgData name="Kuo, Davian" userId="f0f04098-50d6-4562-8c6e-1bff3921f330" providerId="ADAL" clId="{5F9E2EF2-706F-43C5-90E3-17459D47E305}" dt="2024-05-06T14:01:55.863" v="5" actId="47"/>
        <pc:sldMkLst>
          <pc:docMk/>
          <pc:sldMk cId="2057896403" sldId="2147473203"/>
        </pc:sldMkLst>
      </pc:sldChg>
      <pc:sldChg chg="del">
        <pc:chgData name="Kuo, Davian" userId="f0f04098-50d6-4562-8c6e-1bff3921f330" providerId="ADAL" clId="{5F9E2EF2-706F-43C5-90E3-17459D47E305}" dt="2024-05-06T14:01:55.039" v="4" actId="47"/>
        <pc:sldMkLst>
          <pc:docMk/>
          <pc:sldMk cId="2645589472" sldId="2147473204"/>
        </pc:sldMkLst>
      </pc:sldChg>
      <pc:sldChg chg="del">
        <pc:chgData name="Kuo, Davian" userId="f0f04098-50d6-4562-8c6e-1bff3921f330" providerId="ADAL" clId="{5F9E2EF2-706F-43C5-90E3-17459D47E305}" dt="2024-05-06T14:01:50.324" v="1" actId="47"/>
        <pc:sldMkLst>
          <pc:docMk/>
          <pc:sldMk cId="3078414553" sldId="2147473205"/>
        </pc:sldMkLst>
      </pc:sldChg>
    </pc:docChg>
  </pc:docChgLst>
  <pc:docChgLst>
    <pc:chgData name="Kuo, Davian" userId="f0f04098-50d6-4562-8c6e-1bff3921f330" providerId="ADAL" clId="{0730BF40-3B61-4D90-8683-018EB90B760C}"/>
    <pc:docChg chg="custSel addSld delSld modSld modSection">
      <pc:chgData name="Kuo, Davian" userId="f0f04098-50d6-4562-8c6e-1bff3921f330" providerId="ADAL" clId="{0730BF40-3B61-4D90-8683-018EB90B760C}" dt="2024-01-12T00:53:20.571" v="22" actId="14100"/>
      <pc:docMkLst>
        <pc:docMk/>
      </pc:docMkLst>
      <pc:sldChg chg="new del">
        <pc:chgData name="Kuo, Davian" userId="f0f04098-50d6-4562-8c6e-1bff3921f330" providerId="ADAL" clId="{0730BF40-3B61-4D90-8683-018EB90B760C}" dt="2024-01-12T00:51:34.169" v="11" actId="47"/>
        <pc:sldMkLst>
          <pc:docMk/>
          <pc:sldMk cId="3866898893" sldId="275"/>
        </pc:sldMkLst>
      </pc:sldChg>
      <pc:sldChg chg="delSp new del mod">
        <pc:chgData name="Kuo, Davian" userId="f0f04098-50d6-4562-8c6e-1bff3921f330" providerId="ADAL" clId="{0730BF40-3B61-4D90-8683-018EB90B760C}" dt="2024-01-12T00:51:52.496" v="18" actId="47"/>
        <pc:sldMkLst>
          <pc:docMk/>
          <pc:sldMk cId="2461545020" sldId="276"/>
        </pc:sldMkLst>
      </pc:sldChg>
      <pc:sldChg chg="new del">
        <pc:chgData name="Kuo, Davian" userId="f0f04098-50d6-4562-8c6e-1bff3921f330" providerId="ADAL" clId="{0730BF40-3B61-4D90-8683-018EB90B760C}" dt="2024-01-12T00:51:53.245" v="19" actId="47"/>
        <pc:sldMkLst>
          <pc:docMk/>
          <pc:sldMk cId="2366805152" sldId="277"/>
        </pc:sldMkLst>
      </pc:sldChg>
      <pc:sldChg chg="del">
        <pc:chgData name="Kuo, Davian" userId="f0f04098-50d6-4562-8c6e-1bff3921f330" providerId="ADAL" clId="{0730BF40-3B61-4D90-8683-018EB90B760C}" dt="2024-01-12T00:51:18.765" v="1" actId="47"/>
        <pc:sldMkLst>
          <pc:docMk/>
          <pc:sldMk cId="3499520274" sldId="2147473125"/>
        </pc:sldMkLst>
      </pc:sldChg>
      <pc:sldChg chg="del">
        <pc:chgData name="Kuo, Davian" userId="f0f04098-50d6-4562-8c6e-1bff3921f330" providerId="ADAL" clId="{0730BF40-3B61-4D90-8683-018EB90B760C}" dt="2024-01-12T00:51:19.368" v="2" actId="47"/>
        <pc:sldMkLst>
          <pc:docMk/>
          <pc:sldMk cId="8506211" sldId="2147473145"/>
        </pc:sldMkLst>
      </pc:sldChg>
      <pc:sldChg chg="del">
        <pc:chgData name="Kuo, Davian" userId="f0f04098-50d6-4562-8c6e-1bff3921f330" providerId="ADAL" clId="{0730BF40-3B61-4D90-8683-018EB90B760C}" dt="2024-01-12T00:51:20.340" v="4" actId="47"/>
        <pc:sldMkLst>
          <pc:docMk/>
          <pc:sldMk cId="4212880607" sldId="2147473146"/>
        </pc:sldMkLst>
      </pc:sldChg>
      <pc:sldChg chg="del">
        <pc:chgData name="Kuo, Davian" userId="f0f04098-50d6-4562-8c6e-1bff3921f330" providerId="ADAL" clId="{0730BF40-3B61-4D90-8683-018EB90B760C}" dt="2024-01-12T00:51:20.746" v="5" actId="47"/>
        <pc:sldMkLst>
          <pc:docMk/>
          <pc:sldMk cId="1727475012" sldId="2147473147"/>
        </pc:sldMkLst>
      </pc:sldChg>
      <pc:sldChg chg="del">
        <pc:chgData name="Kuo, Davian" userId="f0f04098-50d6-4562-8c6e-1bff3921f330" providerId="ADAL" clId="{0730BF40-3B61-4D90-8683-018EB90B760C}" dt="2024-01-12T00:51:21.188" v="6" actId="47"/>
        <pc:sldMkLst>
          <pc:docMk/>
          <pc:sldMk cId="233631654" sldId="2147473148"/>
        </pc:sldMkLst>
      </pc:sldChg>
      <pc:sldChg chg="del">
        <pc:chgData name="Kuo, Davian" userId="f0f04098-50d6-4562-8c6e-1bff3921f330" providerId="ADAL" clId="{0730BF40-3B61-4D90-8683-018EB90B760C}" dt="2024-01-12T00:51:19.913" v="3" actId="47"/>
        <pc:sldMkLst>
          <pc:docMk/>
          <pc:sldMk cId="519756904" sldId="2147473149"/>
        </pc:sldMkLst>
      </pc:sldChg>
      <pc:sldChg chg="del">
        <pc:chgData name="Kuo, Davian" userId="f0f04098-50d6-4562-8c6e-1bff3921f330" providerId="ADAL" clId="{0730BF40-3B61-4D90-8683-018EB90B760C}" dt="2024-01-12T00:51:14.876" v="0" actId="47"/>
        <pc:sldMkLst>
          <pc:docMk/>
          <pc:sldMk cId="1211501434" sldId="2147473152"/>
        </pc:sldMkLst>
      </pc:sldChg>
      <pc:sldChg chg="del">
        <pc:chgData name="Kuo, Davian" userId="f0f04098-50d6-4562-8c6e-1bff3921f330" providerId="ADAL" clId="{0730BF40-3B61-4D90-8683-018EB90B760C}" dt="2024-01-12T00:51:21.694" v="7" actId="47"/>
        <pc:sldMkLst>
          <pc:docMk/>
          <pc:sldMk cId="2507981028" sldId="2147473153"/>
        </pc:sldMkLst>
      </pc:sldChg>
      <pc:sldChg chg="del">
        <pc:chgData name="Kuo, Davian" userId="f0f04098-50d6-4562-8c6e-1bff3921f330" providerId="ADAL" clId="{0730BF40-3B61-4D90-8683-018EB90B760C}" dt="2024-01-12T00:51:22.242" v="8" actId="47"/>
        <pc:sldMkLst>
          <pc:docMk/>
          <pc:sldMk cId="1226479517" sldId="2147473154"/>
        </pc:sldMkLst>
      </pc:sldChg>
      <pc:sldChg chg="modSp add mod">
        <pc:chgData name="Kuo, Davian" userId="f0f04098-50d6-4562-8c6e-1bff3921f330" providerId="ADAL" clId="{0730BF40-3B61-4D90-8683-018EB90B760C}" dt="2024-01-12T00:53:20.571" v="22" actId="14100"/>
        <pc:sldMkLst>
          <pc:docMk/>
          <pc:sldMk cId="3929235487" sldId="2147473175"/>
        </pc:sldMkLst>
      </pc:sldChg>
    </pc:docChg>
  </pc:docChgLst>
  <pc:docChgLst>
    <pc:chgData name="Chung, Steven" userId="2b3d8430-5b47-4ecd-bf64-3ec3dd086abe" providerId="ADAL" clId="{36809049-940E-431D-9673-4A03B71446E8}"/>
    <pc:docChg chg="addSld modSld">
      <pc:chgData name="Chung, Steven" userId="2b3d8430-5b47-4ecd-bf64-3ec3dd086abe" providerId="ADAL" clId="{36809049-940E-431D-9673-4A03B71446E8}" dt="2023-08-24T10:27:47.410" v="0"/>
      <pc:docMkLst>
        <pc:docMk/>
      </pc:docMkLst>
      <pc:sldChg chg="add">
        <pc:chgData name="Chung, Steven" userId="2b3d8430-5b47-4ecd-bf64-3ec3dd086abe" providerId="ADAL" clId="{36809049-940E-431D-9673-4A03B71446E8}" dt="2023-08-24T10:27:47.410" v="0"/>
        <pc:sldMkLst>
          <pc:docMk/>
          <pc:sldMk cId="1807022871" sldId="284"/>
        </pc:sldMkLst>
      </pc:sldChg>
    </pc:docChg>
  </pc:docChgLst>
  <pc:docChgLst>
    <pc:chgData name="Kuo, Davian" userId="f0f04098-50d6-4562-8c6e-1bff3921f330" providerId="ADAL" clId="{D6FEBDD8-FEDC-45B5-ABB2-FFBBBB0AAFB2}"/>
    <pc:docChg chg="undo custSel addSld delSld modSld modSection">
      <pc:chgData name="Kuo, Davian" userId="f0f04098-50d6-4562-8c6e-1bff3921f330" providerId="ADAL" clId="{D6FEBDD8-FEDC-45B5-ABB2-FFBBBB0AAFB2}" dt="2024-05-02T09:09:41.171" v="4239" actId="115"/>
      <pc:docMkLst>
        <pc:docMk/>
      </pc:docMkLst>
      <pc:sldChg chg="modTransition">
        <pc:chgData name="Kuo, Davian" userId="f0f04098-50d6-4562-8c6e-1bff3921f330" providerId="ADAL" clId="{D6FEBDD8-FEDC-45B5-ABB2-FFBBBB0AAFB2}" dt="2024-05-02T04:19:21.299" v="4098"/>
        <pc:sldMkLst>
          <pc:docMk/>
          <pc:sldMk cId="1153746984" sldId="274"/>
        </pc:sldMkLst>
      </pc:sldChg>
      <pc:sldChg chg="del">
        <pc:chgData name="Kuo, Davian" userId="f0f04098-50d6-4562-8c6e-1bff3921f330" providerId="ADAL" clId="{D6FEBDD8-FEDC-45B5-ABB2-FFBBBB0AAFB2}" dt="2024-05-01T13:58:10.095" v="3766" actId="47"/>
        <pc:sldMkLst>
          <pc:docMk/>
          <pc:sldMk cId="2037922143" sldId="2147473199"/>
        </pc:sldMkLst>
      </pc:sldChg>
      <pc:sldChg chg="addSp delSp modSp new del mod">
        <pc:chgData name="Kuo, Davian" userId="f0f04098-50d6-4562-8c6e-1bff3921f330" providerId="ADAL" clId="{D6FEBDD8-FEDC-45B5-ABB2-FFBBBB0AAFB2}" dt="2024-05-01T13:19:30.473" v="2418" actId="47"/>
        <pc:sldMkLst>
          <pc:docMk/>
          <pc:sldMk cId="4249237177" sldId="2147473200"/>
        </pc:sldMkLst>
      </pc:sldChg>
      <pc:sldChg chg="addSp delSp modSp new add del mod">
        <pc:chgData name="Kuo, Davian" userId="f0f04098-50d6-4562-8c6e-1bff3921f330" providerId="ADAL" clId="{D6FEBDD8-FEDC-45B5-ABB2-FFBBBB0AAFB2}" dt="2024-05-01T13:19:37.888" v="2419" actId="47"/>
        <pc:sldMkLst>
          <pc:docMk/>
          <pc:sldMk cId="2552454626" sldId="2147473201"/>
        </pc:sldMkLst>
      </pc:sldChg>
      <pc:sldChg chg="addSp delSp modSp new mod">
        <pc:chgData name="Kuo, Davian" userId="f0f04098-50d6-4562-8c6e-1bff3921f330" providerId="ADAL" clId="{D6FEBDD8-FEDC-45B5-ABB2-FFBBBB0AAFB2}" dt="2024-05-01T14:24:46.653" v="3969" actId="20578"/>
        <pc:sldMkLst>
          <pc:docMk/>
          <pc:sldMk cId="3966866839" sldId="2147473202"/>
        </pc:sldMkLst>
      </pc:sldChg>
      <pc:sldChg chg="addSp delSp modSp new mod">
        <pc:chgData name="Kuo, Davian" userId="f0f04098-50d6-4562-8c6e-1bff3921f330" providerId="ADAL" clId="{D6FEBDD8-FEDC-45B5-ABB2-FFBBBB0AAFB2}" dt="2024-05-02T00:38:11.600" v="4086" actId="478"/>
        <pc:sldMkLst>
          <pc:docMk/>
          <pc:sldMk cId="2057896403" sldId="2147473203"/>
        </pc:sldMkLst>
      </pc:sldChg>
      <pc:sldChg chg="addSp delSp modSp new mod">
        <pc:chgData name="Kuo, Davian" userId="f0f04098-50d6-4562-8c6e-1bff3921f330" providerId="ADAL" clId="{D6FEBDD8-FEDC-45B5-ABB2-FFBBBB0AAFB2}" dt="2024-05-02T09:09:41.171" v="4239" actId="115"/>
        <pc:sldMkLst>
          <pc:docMk/>
          <pc:sldMk cId="2645589472" sldId="2147473204"/>
        </pc:sldMkLst>
      </pc:sldChg>
      <pc:sldChg chg="addSp delSp modSp new del mod">
        <pc:chgData name="Kuo, Davian" userId="f0f04098-50d6-4562-8c6e-1bff3921f330" providerId="ADAL" clId="{D6FEBDD8-FEDC-45B5-ABB2-FFBBBB0AAFB2}" dt="2024-05-02T04:13:03.901" v="4096" actId="47"/>
        <pc:sldMkLst>
          <pc:docMk/>
          <pc:sldMk cId="1986731100" sldId="2147473205"/>
        </pc:sldMkLst>
      </pc:sldChg>
      <pc:sldChg chg="addSp delSp modSp new mod modTransition delAnim modAnim">
        <pc:chgData name="Kuo, Davian" userId="f0f04098-50d6-4562-8c6e-1bff3921f330" providerId="ADAL" clId="{D6FEBDD8-FEDC-45B5-ABB2-FFBBBB0AAFB2}" dt="2024-05-02T04:48:54.034" v="4235" actId="20577"/>
        <pc:sldMkLst>
          <pc:docMk/>
          <pc:sldMk cId="3078414553" sldId="2147473205"/>
        </pc:sldMkLst>
      </pc:sldChg>
    </pc:docChg>
  </pc:docChgLst>
  <pc:docChgLst>
    <pc:chgData name="Hsieh, Shawn" userId="f93cd79d-7438-4359-8c75-142aea53e1dd" providerId="ADAL" clId="{B494CB4B-FF2A-47C1-B3B2-A7E6FB59A33B}"/>
    <pc:docChg chg="addSld delSld modSld modSection">
      <pc:chgData name="Hsieh, Shawn" userId="f93cd79d-7438-4359-8c75-142aea53e1dd" providerId="ADAL" clId="{B494CB4B-FF2A-47C1-B3B2-A7E6FB59A33B}" dt="2023-08-11T01:32:00.403" v="19" actId="20577"/>
      <pc:docMkLst>
        <pc:docMk/>
      </pc:docMkLst>
      <pc:sldChg chg="modSp add mod">
        <pc:chgData name="Hsieh, Shawn" userId="f93cd79d-7438-4359-8c75-142aea53e1dd" providerId="ADAL" clId="{B494CB4B-FF2A-47C1-B3B2-A7E6FB59A33B}" dt="2023-08-11T01:32:00.403" v="19" actId="20577"/>
        <pc:sldMkLst>
          <pc:docMk/>
          <pc:sldMk cId="3081104935" sldId="2147473123"/>
        </pc:sldMkLst>
      </pc:sldChg>
      <pc:sldChg chg="del">
        <pc:chgData name="Hsieh, Shawn" userId="f93cd79d-7438-4359-8c75-142aea53e1dd" providerId="ADAL" clId="{B494CB4B-FF2A-47C1-B3B2-A7E6FB59A33B}" dt="2023-08-11T01:31:49.430" v="1" actId="47"/>
        <pc:sldMkLst>
          <pc:docMk/>
          <pc:sldMk cId="922703012" sldId="2147473126"/>
        </pc:sldMkLst>
      </pc:sldChg>
    </pc:docChg>
  </pc:docChgLst>
  <pc:docChgLst>
    <pc:chgData name="Chen, Ryan" userId="aca00709-f626-4c6e-ba10-d5632b32d240" providerId="ADAL" clId="{0973A6D0-D658-4508-B93C-0B1B8A2D0CBA}"/>
    <pc:docChg chg="custSel addSld modSld">
      <pc:chgData name="Chen, Ryan" userId="aca00709-f626-4c6e-ba10-d5632b32d240" providerId="ADAL" clId="{0973A6D0-D658-4508-B93C-0B1B8A2D0CBA}" dt="2023-07-27T15:23:48.901" v="575" actId="20577"/>
      <pc:docMkLst>
        <pc:docMk/>
      </pc:docMkLst>
      <pc:sldChg chg="delSp add mod modShow">
        <pc:chgData name="Chen, Ryan" userId="aca00709-f626-4c6e-ba10-d5632b32d240" providerId="ADAL" clId="{0973A6D0-D658-4508-B93C-0B1B8A2D0CBA}" dt="2023-07-27T15:22:22.309" v="545" actId="729"/>
        <pc:sldMkLst>
          <pc:docMk/>
          <pc:sldMk cId="2577552658" sldId="2147473089"/>
        </pc:sldMkLst>
      </pc:sldChg>
      <pc:sldChg chg="addSp delSp modSp add mod modShow">
        <pc:chgData name="Chen, Ryan" userId="aca00709-f626-4c6e-ba10-d5632b32d240" providerId="ADAL" clId="{0973A6D0-D658-4508-B93C-0B1B8A2D0CBA}" dt="2023-07-27T15:09:18.287" v="540" actId="20577"/>
        <pc:sldMkLst>
          <pc:docMk/>
          <pc:sldMk cId="4116700547" sldId="2147473114"/>
        </pc:sldMkLst>
      </pc:sldChg>
      <pc:sldChg chg="addSp modSp add mod modShow">
        <pc:chgData name="Chen, Ryan" userId="aca00709-f626-4c6e-ba10-d5632b32d240" providerId="ADAL" clId="{0973A6D0-D658-4508-B93C-0B1B8A2D0CBA}" dt="2023-07-27T15:23:48.901" v="575" actId="20577"/>
        <pc:sldMkLst>
          <pc:docMk/>
          <pc:sldMk cId="4047454075" sldId="2147473115"/>
        </pc:sldMkLst>
      </pc:sldChg>
    </pc:docChg>
  </pc:docChgLst>
  <pc:docChgLst>
    <pc:chgData name="Kuo, Davian" userId="f0f04098-50d6-4562-8c6e-1bff3921f330" providerId="ADAL" clId="{3F560C94-8392-49B6-8212-D28102E58893}"/>
    <pc:docChg chg="undo custSel addSld delSld modSld modSection">
      <pc:chgData name="Kuo, Davian" userId="f0f04098-50d6-4562-8c6e-1bff3921f330" providerId="ADAL" clId="{3F560C94-8392-49B6-8212-D28102E58893}" dt="2024-08-27T09:52:41.099" v="203" actId="478"/>
      <pc:docMkLst>
        <pc:docMk/>
      </pc:docMkLst>
      <pc:sldChg chg="del">
        <pc:chgData name="Kuo, Davian" userId="f0f04098-50d6-4562-8c6e-1bff3921f330" providerId="ADAL" clId="{3F560C94-8392-49B6-8212-D28102E58893}" dt="2024-08-27T09:47:36.283" v="139" actId="47"/>
        <pc:sldMkLst>
          <pc:docMk/>
          <pc:sldMk cId="428255641" sldId="2147473191"/>
        </pc:sldMkLst>
      </pc:sldChg>
      <pc:sldChg chg="del">
        <pc:chgData name="Kuo, Davian" userId="f0f04098-50d6-4562-8c6e-1bff3921f330" providerId="ADAL" clId="{3F560C94-8392-49B6-8212-D28102E58893}" dt="2024-08-27T09:47:36.847" v="140" actId="47"/>
        <pc:sldMkLst>
          <pc:docMk/>
          <pc:sldMk cId="3561931933" sldId="2147473192"/>
        </pc:sldMkLst>
      </pc:sldChg>
      <pc:sldChg chg="del">
        <pc:chgData name="Kuo, Davian" userId="f0f04098-50d6-4562-8c6e-1bff3921f330" providerId="ADAL" clId="{3F560C94-8392-49B6-8212-D28102E58893}" dt="2024-08-27T09:47:37.355" v="141" actId="47"/>
        <pc:sldMkLst>
          <pc:docMk/>
          <pc:sldMk cId="423386077" sldId="2147473193"/>
        </pc:sldMkLst>
      </pc:sldChg>
      <pc:sldChg chg="addSp delSp modSp new mod">
        <pc:chgData name="Kuo, Davian" userId="f0f04098-50d6-4562-8c6e-1bff3921f330" providerId="ADAL" clId="{3F560C94-8392-49B6-8212-D28102E58893}" dt="2024-08-27T09:52:41.099" v="203" actId="478"/>
        <pc:sldMkLst>
          <pc:docMk/>
          <pc:sldMk cId="599810960" sldId="2147473194"/>
        </pc:sldMkLst>
      </pc:sldChg>
    </pc:docChg>
  </pc:docChgLst>
  <pc:docChgLst>
    <pc:chgData name="Kuo, Davian" userId="f0f04098-50d6-4562-8c6e-1bff3921f330" providerId="ADAL" clId="{2CFCB63B-95B2-4A2D-8EF0-87F6D9FAA752}"/>
    <pc:docChg chg="undo custSel modSld">
      <pc:chgData name="Kuo, Davian" userId="f0f04098-50d6-4562-8c6e-1bff3921f330" providerId="ADAL" clId="{2CFCB63B-95B2-4A2D-8EF0-87F6D9FAA752}" dt="2024-12-01T15:19:13.496" v="1527" actId="14100"/>
      <pc:docMkLst>
        <pc:docMk/>
      </pc:docMkLst>
      <pc:sldChg chg="addSp delSp modSp mod">
        <pc:chgData name="Kuo, Davian" userId="f0f04098-50d6-4562-8c6e-1bff3921f330" providerId="ADAL" clId="{2CFCB63B-95B2-4A2D-8EF0-87F6D9FAA752}" dt="2024-12-01T15:19:13.496" v="1527" actId="14100"/>
        <pc:sldMkLst>
          <pc:docMk/>
          <pc:sldMk cId="599810960" sldId="2147473194"/>
        </pc:sldMkLst>
      </pc:sldChg>
    </pc:docChg>
  </pc:docChgLst>
  <pc:docChgLst>
    <pc:chgData name="Kuo, Davian" userId="f0f04098-50d6-4562-8c6e-1bff3921f330" providerId="ADAL" clId="{DCBAD693-C68B-4C77-9FB9-821414381660}"/>
    <pc:docChg chg="undo custSel addSld delSld modSld sldOrd modSection">
      <pc:chgData name="Kuo, Davian" userId="f0f04098-50d6-4562-8c6e-1bff3921f330" providerId="ADAL" clId="{DCBAD693-C68B-4C77-9FB9-821414381660}" dt="2023-11-16T16:06:26.554" v="3877" actId="47"/>
      <pc:docMkLst>
        <pc:docMk/>
      </pc:docMkLst>
      <pc:sldChg chg="addSp delSp modSp add mod ord">
        <pc:chgData name="Kuo, Davian" userId="f0f04098-50d6-4562-8c6e-1bff3921f330" providerId="ADAL" clId="{DCBAD693-C68B-4C77-9FB9-821414381660}" dt="2023-11-16T10:12:52.139" v="3873" actId="12"/>
        <pc:sldMkLst>
          <pc:docMk/>
          <pc:sldMk cId="3499520274" sldId="2147473125"/>
        </pc:sldMkLst>
      </pc:sldChg>
      <pc:sldChg chg="modSp mod">
        <pc:chgData name="Kuo, Davian" userId="f0f04098-50d6-4562-8c6e-1bff3921f330" providerId="ADAL" clId="{DCBAD693-C68B-4C77-9FB9-821414381660}" dt="2023-11-16T09:03:45.617" v="2776" actId="20577"/>
        <pc:sldMkLst>
          <pc:docMk/>
          <pc:sldMk cId="8506211" sldId="2147473145"/>
        </pc:sldMkLst>
      </pc:sldChg>
      <pc:sldChg chg="addSp delSp modSp mod">
        <pc:chgData name="Kuo, Davian" userId="f0f04098-50d6-4562-8c6e-1bff3921f330" providerId="ADAL" clId="{DCBAD693-C68B-4C77-9FB9-821414381660}" dt="2023-11-16T09:10:13.672" v="2929" actId="478"/>
        <pc:sldMkLst>
          <pc:docMk/>
          <pc:sldMk cId="4212880607" sldId="2147473146"/>
        </pc:sldMkLst>
      </pc:sldChg>
      <pc:sldChg chg="modSp mod">
        <pc:chgData name="Kuo, Davian" userId="f0f04098-50d6-4562-8c6e-1bff3921f330" providerId="ADAL" clId="{DCBAD693-C68B-4C77-9FB9-821414381660}" dt="2023-11-16T09:04:35.348" v="2829" actId="20577"/>
        <pc:sldMkLst>
          <pc:docMk/>
          <pc:sldMk cId="1727475012" sldId="2147473147"/>
        </pc:sldMkLst>
      </pc:sldChg>
      <pc:sldChg chg="addSp delSp modSp mod">
        <pc:chgData name="Kuo, Davian" userId="f0f04098-50d6-4562-8c6e-1bff3921f330" providerId="ADAL" clId="{DCBAD693-C68B-4C77-9FB9-821414381660}" dt="2023-11-16T09:04:45.300" v="2846" actId="20577"/>
        <pc:sldMkLst>
          <pc:docMk/>
          <pc:sldMk cId="233631654" sldId="2147473148"/>
        </pc:sldMkLst>
      </pc:sldChg>
      <pc:sldChg chg="modSp mod">
        <pc:chgData name="Kuo, Davian" userId="f0f04098-50d6-4562-8c6e-1bff3921f330" providerId="ADAL" clId="{DCBAD693-C68B-4C77-9FB9-821414381660}" dt="2023-11-16T09:03:59.492" v="2793" actId="20577"/>
        <pc:sldMkLst>
          <pc:docMk/>
          <pc:sldMk cId="519756904" sldId="2147473149"/>
        </pc:sldMkLst>
      </pc:sldChg>
      <pc:sldChg chg="del">
        <pc:chgData name="Kuo, Davian" userId="f0f04098-50d6-4562-8c6e-1bff3921f330" providerId="ADAL" clId="{DCBAD693-C68B-4C77-9FB9-821414381660}" dt="2023-11-16T05:32:15.299" v="0" actId="47"/>
        <pc:sldMkLst>
          <pc:docMk/>
          <pc:sldMk cId="2908229731" sldId="2147473150"/>
        </pc:sldMkLst>
      </pc:sldChg>
      <pc:sldChg chg="delSp modSp del mod">
        <pc:chgData name="Kuo, Davian" userId="f0f04098-50d6-4562-8c6e-1bff3921f330" providerId="ADAL" clId="{DCBAD693-C68B-4C77-9FB9-821414381660}" dt="2023-11-16T09:06:22.095" v="2925" actId="47"/>
        <pc:sldMkLst>
          <pc:docMk/>
          <pc:sldMk cId="2214563025" sldId="2147473151"/>
        </pc:sldMkLst>
      </pc:sldChg>
      <pc:sldChg chg="addSp delSp modSp new add del mod">
        <pc:chgData name="Kuo, Davian" userId="f0f04098-50d6-4562-8c6e-1bff3921f330" providerId="ADAL" clId="{DCBAD693-C68B-4C77-9FB9-821414381660}" dt="2023-11-16T16:06:26.554" v="3877" actId="47"/>
        <pc:sldMkLst>
          <pc:docMk/>
          <pc:sldMk cId="2507981028" sldId="2147473153"/>
        </pc:sldMkLst>
      </pc:sldChg>
      <pc:sldChg chg="addSp delSp modSp new add del mod">
        <pc:chgData name="Kuo, Davian" userId="f0f04098-50d6-4562-8c6e-1bff3921f330" providerId="ADAL" clId="{DCBAD693-C68B-4C77-9FB9-821414381660}" dt="2023-11-16T16:06:25.200" v="3876" actId="47"/>
        <pc:sldMkLst>
          <pc:docMk/>
          <pc:sldMk cId="1226479517" sldId="2147473154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8D5286F-F46C-4E2C-97AF-6B45DE4CB2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066E692-6480-48CC-8BCD-A7DF5C1F69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FEB490-C5F1-4FE5-B523-7E2A854CD119}" type="datetimeFigureOut">
              <a:rPr lang="de-DE" smtClean="0"/>
              <a:t>21.03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458393A-9752-4A74-9877-37793712D68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2DF026-F42B-4782-9457-5E48B4742A2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F6C2D2-50ED-4FF1-94DB-86311ACB8CA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27807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ECEF2B-B444-4E6C-B710-FDFA372E266A}" type="datetimeFigureOut">
              <a:rPr lang="de-DE" smtClean="0"/>
              <a:t>21.03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B7BD1D-57F2-4AA2-9428-BF308BAFC72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1586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| Exter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292093E-44AE-4A88-A4CB-D23B1DD324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8319" y="642855"/>
            <a:ext cx="7228674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294FA502-C1DC-4873-B743-6261A6D4B7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7228674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2196AA1-313D-4990-8CC0-383A233A263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2351880"/>
            <a:ext cx="12192000" cy="4506119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cxnSp>
        <p:nvCxnSpPr>
          <p:cNvPr id="13" name="Gerade Verbindung 22">
            <a:extLst>
              <a:ext uri="{FF2B5EF4-FFF2-40B4-BE49-F238E27FC236}">
                <a16:creationId xmlns:a16="http://schemas.microsoft.com/office/drawing/2014/main" id="{1E2BE177-B8AE-4CA3-8B0C-241AD815C55F}"/>
              </a:ext>
            </a:extLst>
          </p:cNvPr>
          <p:cNvCxnSpPr>
            <a:cxnSpLocks/>
          </p:cNvCxnSpPr>
          <p:nvPr/>
        </p:nvCxnSpPr>
        <p:spPr>
          <a:xfrm>
            <a:off x="8512714" y="0"/>
            <a:ext cx="0" cy="130810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35">
            <a:extLst>
              <a:ext uri="{FF2B5EF4-FFF2-40B4-BE49-F238E27FC236}">
                <a16:creationId xmlns:a16="http://schemas.microsoft.com/office/drawing/2014/main" id="{9A76B5C1-E9F7-44AB-B776-CC664C7A0794}"/>
              </a:ext>
            </a:extLst>
          </p:cNvPr>
          <p:cNvCxnSpPr>
            <a:cxnSpLocks/>
          </p:cNvCxnSpPr>
          <p:nvPr/>
        </p:nvCxnSpPr>
        <p:spPr>
          <a:xfrm>
            <a:off x="8512714" y="1632585"/>
            <a:ext cx="0" cy="432088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7DAACFA-7C59-48D1-9F81-779220D25C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11763" y="642855"/>
            <a:ext cx="1524435" cy="5539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8A8A8A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Autho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B41D90C-6B47-423A-B199-5AEB724B999E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8711762" y="1756296"/>
            <a:ext cx="1166986" cy="184666"/>
          </a:xfrm>
        </p:spPr>
        <p:txBody>
          <a:bodyPr vert="horz" wrap="none" lIns="0" tIns="0" rIns="0" bIns="0" rtlCol="0" anchor="t" anchorCtr="0">
            <a:spAutoFit/>
          </a:bodyPr>
          <a:lstStyle>
            <a:lvl1pPr>
              <a:defRPr lang="en-US" sz="1200" smtClean="0">
                <a:solidFill>
                  <a:srgbClr val="8A8A8A"/>
                </a:solidFill>
                <a:cs typeface="+mn-cs"/>
              </a:defRPr>
            </a:lvl1pPr>
          </a:lstStyle>
          <a:p>
            <a:pPr>
              <a:buFont typeface="Arial" panose="020B0604020202020204" pitchFamily="34" charset="0"/>
              <a:buNone/>
            </a:pPr>
            <a:fld id="{DA752F2E-4511-45B5-A60D-6AECCA6C2661}" type="datetime3">
              <a:rPr lang="en-US" noProof="0" smtClean="0"/>
              <a:t>21 March 202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525333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3672128A-9CD1-4BA0-8866-2DE4C8621BF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63E6CB3C-AA15-4066-87A4-1BC111AFD6D2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18320" y="1631837"/>
            <a:ext cx="3521074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91B4FA4A-707E-4B21-8550-2A1CA445619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36655" y="1631837"/>
            <a:ext cx="3521074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66568BC8-CF70-4E83-B3D8-E4E070B4F8E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154989" y="1631837"/>
            <a:ext cx="3521074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12" name="Gerade Verbindung 71">
            <a:extLst>
              <a:ext uri="{FF2B5EF4-FFF2-40B4-BE49-F238E27FC236}">
                <a16:creationId xmlns:a16="http://schemas.microsoft.com/office/drawing/2014/main" id="{A31530B3-F348-4886-8DA8-C7DF27643531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102CB9D-4819-4042-AAFD-7958A4C7428D}"/>
              </a:ext>
            </a:extLst>
          </p:cNvPr>
          <p:cNvSpPr>
            <a:spLocks noGrp="1"/>
          </p:cNvSpPr>
          <p:nvPr>
            <p:ph type="dt" sz="half" idx="68"/>
          </p:nvPr>
        </p:nvSpPr>
        <p:spPr/>
        <p:txBody>
          <a:bodyPr/>
          <a:lstStyle/>
          <a:p>
            <a:fld id="{732F2286-9674-44F0-B4CA-0CE533CB74B6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4F1084E-E079-4EB4-A1F3-26B9209D3CC5}"/>
              </a:ext>
            </a:extLst>
          </p:cNvPr>
          <p:cNvSpPr>
            <a:spLocks noGrp="1"/>
          </p:cNvSpPr>
          <p:nvPr>
            <p:ph type="ftr" sz="quarter" idx="69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146C619-2560-4AAC-8398-CE3A02E1D5F3}"/>
              </a:ext>
            </a:extLst>
          </p:cNvPr>
          <p:cNvSpPr>
            <a:spLocks noGrp="1"/>
          </p:cNvSpPr>
          <p:nvPr>
            <p:ph type="sldNum" sz="quarter" idx="70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066297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090A1F3-A7AB-42F7-9FBF-8736DC5882D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78DED978-10E9-4C45-9AF8-D5BAE20E962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18320" y="1631837"/>
            <a:ext cx="2570061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3CA966A3-1F04-42F3-AA58-C900F327C55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380881" y="1631837"/>
            <a:ext cx="2570061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E9EB05F1-EE7A-473E-83D8-EA42061575E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243442" y="1631837"/>
            <a:ext cx="2570061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9D348FF-9AC7-4A00-B1A3-468BE3014FE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9106002" y="1631837"/>
            <a:ext cx="2570061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15" name="Gerade Verbindung 71">
            <a:extLst>
              <a:ext uri="{FF2B5EF4-FFF2-40B4-BE49-F238E27FC236}">
                <a16:creationId xmlns:a16="http://schemas.microsoft.com/office/drawing/2014/main" id="{9777B3E4-5C84-4ECF-BB4F-827EB0A4BCA6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C66A3E1-DB69-4154-B04C-355FC02A89A8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2629D243-57EA-4FB3-AD6B-31F22D4F3B11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BBC0533-4FB6-4E4C-9FEE-307A65EB0EF1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9753430-571A-42FB-ABDB-E185A1666AB5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936145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| 4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276B4CC-8E3B-49AA-A6D3-2C309ED8CFE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4DC0976-C523-4842-8BFE-0A9CBF3B503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18318" y="1631837"/>
            <a:ext cx="5433219" cy="2086521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DBBDED6D-1B2A-4452-8222-8F9BFC9EAEF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18318" y="4006299"/>
            <a:ext cx="5433219" cy="2086521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2A5093DB-E40A-443C-AE2F-5BD6332BA4D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2844" y="1631837"/>
            <a:ext cx="5433219" cy="2086521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E5BB036-1A1C-4EB9-AF21-69D3C12FF402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242844" y="4006299"/>
            <a:ext cx="5433219" cy="2086521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14" name="Gerade Verbindung 71">
            <a:extLst>
              <a:ext uri="{FF2B5EF4-FFF2-40B4-BE49-F238E27FC236}">
                <a16:creationId xmlns:a16="http://schemas.microsoft.com/office/drawing/2014/main" id="{402158F7-C9FB-49D1-A70D-91C0BFCA16BC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856AE80-64C9-468E-83D2-89FF7C96AA94}"/>
              </a:ext>
            </a:extLst>
          </p:cNvPr>
          <p:cNvSpPr>
            <a:spLocks noGrp="1"/>
          </p:cNvSpPr>
          <p:nvPr>
            <p:ph type="dt" sz="half" idx="72"/>
          </p:nvPr>
        </p:nvSpPr>
        <p:spPr/>
        <p:txBody>
          <a:bodyPr/>
          <a:lstStyle/>
          <a:p>
            <a:fld id="{CB4A415D-18C8-4752-AEB6-EB69C5AFA046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0C193D0-85F9-429C-B3DB-E608384DC738}"/>
              </a:ext>
            </a:extLst>
          </p:cNvPr>
          <p:cNvSpPr>
            <a:spLocks noGrp="1"/>
          </p:cNvSpPr>
          <p:nvPr>
            <p:ph type="ftr" sz="quarter" idx="73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1A7080C-3AB4-4217-8B70-9F4453998D34}"/>
              </a:ext>
            </a:extLst>
          </p:cNvPr>
          <p:cNvSpPr>
            <a:spLocks noGrp="1"/>
          </p:cNvSpPr>
          <p:nvPr>
            <p:ph type="sldNum" sz="quarter" idx="74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365444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 Photo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42847" y="1631837"/>
            <a:ext cx="5433216" cy="4464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F8B81FA6-341F-4F98-BDCB-E4F6B6D12B4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219180E3-3297-4CBF-9A1C-BF98BA2B751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18319" y="1631837"/>
            <a:ext cx="5433219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12" name="Gerade Verbindung 71">
            <a:extLst>
              <a:ext uri="{FF2B5EF4-FFF2-40B4-BE49-F238E27FC236}">
                <a16:creationId xmlns:a16="http://schemas.microsoft.com/office/drawing/2014/main" id="{8AD5A654-A7AA-4BE0-BEE4-79B9D17A50AE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B60A86B-2C67-43D7-87CB-5F0345951B70}"/>
              </a:ext>
            </a:extLst>
          </p:cNvPr>
          <p:cNvSpPr>
            <a:spLocks noGrp="1"/>
          </p:cNvSpPr>
          <p:nvPr>
            <p:ph type="dt" sz="half" idx="65"/>
          </p:nvPr>
        </p:nvSpPr>
        <p:spPr/>
        <p:txBody>
          <a:bodyPr/>
          <a:lstStyle/>
          <a:p>
            <a:fld id="{DAD31600-87B0-4B3D-BEA5-D5E5D3746A44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52409F4-987E-4D00-82C8-E98930C0182F}"/>
              </a:ext>
            </a:extLst>
          </p:cNvPr>
          <p:cNvSpPr>
            <a:spLocks noGrp="1"/>
          </p:cNvSpPr>
          <p:nvPr>
            <p:ph type="ftr" sz="quarter" idx="66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24FF6FB-E90B-4213-AD64-BF49E131A208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54626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 Photo Slide | 2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42847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DE207224-BD49-486F-AD1A-8E3330BDCF5D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9103918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cxnSp>
        <p:nvCxnSpPr>
          <p:cNvPr id="12" name="Gerade Verbindung 71">
            <a:extLst>
              <a:ext uri="{FF2B5EF4-FFF2-40B4-BE49-F238E27FC236}">
                <a16:creationId xmlns:a16="http://schemas.microsoft.com/office/drawing/2014/main" id="{F9229CDC-3BC6-41B6-92A7-3D626B3207F0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67019CAF-952D-4F3E-8D6F-25ACB42A0F4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2BD66A5F-8890-45C7-AFA2-FBAFE51EAA5D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18319" y="1631837"/>
            <a:ext cx="5433219" cy="3618387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50776CE-C715-4BB6-9753-D24EE139A4F8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871538" y="5634172"/>
            <a:ext cx="1080000" cy="461665"/>
          </a:xfrm>
        </p:spPr>
        <p:txBody>
          <a:bodyPr wrap="square">
            <a:noAutofit/>
          </a:bodyPr>
          <a:lstStyle>
            <a:lvl1pPr algn="r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2</a:t>
            </a:r>
            <a:br>
              <a:rPr lang="en-US" noProof="0"/>
            </a:br>
            <a:r>
              <a:rPr lang="en-US" noProof="0"/>
              <a:t>Edit master text format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0FA2D9FE-5416-445D-999A-5E09BE4B77B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502611" y="5634172"/>
            <a:ext cx="1080000" cy="461665"/>
          </a:xfrm>
        </p:spPr>
        <p:txBody>
          <a:bodyPr wrap="square">
            <a:noAutofit/>
          </a:bodyPr>
          <a:lstStyle>
            <a:lvl1pPr algn="r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1</a:t>
            </a:r>
            <a:br>
              <a:rPr lang="en-US" noProof="0"/>
            </a:br>
            <a:r>
              <a:rPr lang="en-US" noProof="0"/>
              <a:t>Edit master text format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4758C8A2-BB5A-4369-8E47-1B3AD76831C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242847" y="5634172"/>
            <a:ext cx="342680" cy="461665"/>
          </a:xfrm>
        </p:spPr>
        <p:txBody>
          <a:bodyPr wrap="none">
            <a:noAutofit/>
          </a:bodyPr>
          <a:lstStyle>
            <a:lvl1pPr algn="r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EB3A890A-9CCC-4136-9288-897A93AE1F0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9103918" y="5634172"/>
            <a:ext cx="342680" cy="461665"/>
          </a:xfrm>
        </p:spPr>
        <p:txBody>
          <a:bodyPr wrap="none">
            <a:noAutofit/>
          </a:bodyPr>
          <a:lstStyle>
            <a:lvl1pPr algn="r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1</a:t>
            </a:r>
          </a:p>
        </p:txBody>
      </p:sp>
      <p:cxnSp>
        <p:nvCxnSpPr>
          <p:cNvPr id="20" name="Gerade Verbindung 71">
            <a:extLst>
              <a:ext uri="{FF2B5EF4-FFF2-40B4-BE49-F238E27FC236}">
                <a16:creationId xmlns:a16="http://schemas.microsoft.com/office/drawing/2014/main" id="{DCD48792-2155-489C-A782-DE9270EDD7B6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578A6F3-FA0A-497B-B3C3-3F161FD7737F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EA3FEC4D-A520-41EA-A9F0-FEE8F330B45D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E50EEDF-D2E6-4F68-989E-872B6ADC7A2A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0C6A4D2-790B-43AA-B04E-B54A8CABCBAA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791797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518319" y="1631837"/>
            <a:ext cx="5433216" cy="4464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cxnSp>
        <p:nvCxnSpPr>
          <p:cNvPr id="9" name="Gerade Verbindung 71">
            <a:extLst>
              <a:ext uri="{FF2B5EF4-FFF2-40B4-BE49-F238E27FC236}">
                <a16:creationId xmlns:a16="http://schemas.microsoft.com/office/drawing/2014/main" id="{B373B185-DA03-4F17-9BE9-B716E16FE702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F1578027-2A9A-485E-94CA-26294C7CB32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02C0F8EF-24A8-485F-AAF4-B9275B071EB6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242844" y="1631837"/>
            <a:ext cx="5433219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11" name="Gerade Verbindung 71">
            <a:extLst>
              <a:ext uri="{FF2B5EF4-FFF2-40B4-BE49-F238E27FC236}">
                <a16:creationId xmlns:a16="http://schemas.microsoft.com/office/drawing/2014/main" id="{D754BE1D-D807-41C3-AF04-11BE8305EB34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2864BD2-AB7C-4DCA-9DE1-7FB94AD904EA}"/>
              </a:ext>
            </a:extLst>
          </p:cNvPr>
          <p:cNvSpPr>
            <a:spLocks noGrp="1"/>
          </p:cNvSpPr>
          <p:nvPr>
            <p:ph type="dt" sz="half" idx="66"/>
          </p:nvPr>
        </p:nvSpPr>
        <p:spPr/>
        <p:txBody>
          <a:bodyPr/>
          <a:lstStyle/>
          <a:p>
            <a:fld id="{6E357122-83A9-43E6-B26E-A6B59204C375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443A2DB-597F-4CE8-8F6C-4377E0CEB6AC}"/>
              </a:ext>
            </a:extLst>
          </p:cNvPr>
          <p:cNvSpPr>
            <a:spLocks noGrp="1"/>
          </p:cNvSpPr>
          <p:nvPr>
            <p:ph type="ftr" sz="quarter" idx="67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1C15477-FDBB-48A8-91C3-0750C08B32A4}"/>
              </a:ext>
            </a:extLst>
          </p:cNvPr>
          <p:cNvSpPr>
            <a:spLocks noGrp="1"/>
          </p:cNvSpPr>
          <p:nvPr>
            <p:ph type="sldNum" sz="quarter" idx="68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129737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 Text Slide | 2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110DE13-884C-476D-A18E-6F6ED1A03B9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518319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5A4E8199-7A92-4A66-8124-B13B4C014735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3379392" y="1631837"/>
            <a:ext cx="2572145" cy="4464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cxnSp>
        <p:nvCxnSpPr>
          <p:cNvPr id="12" name="Gerade Verbindung 71">
            <a:extLst>
              <a:ext uri="{FF2B5EF4-FFF2-40B4-BE49-F238E27FC236}">
                <a16:creationId xmlns:a16="http://schemas.microsoft.com/office/drawing/2014/main" id="{507CC524-2144-4589-B013-A85FB1062C25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061F6D30-1E0B-46ED-9FBA-4F7AF9D857E8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E782CB96-581D-4138-8E6D-A203BF9A3FAC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242844" y="1631837"/>
            <a:ext cx="5433219" cy="3618392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CDA597C6-0A4F-4BA3-9D9F-D018CC3CEB6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611773" y="5634172"/>
            <a:ext cx="1080000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2</a:t>
            </a:r>
            <a:br>
              <a:rPr lang="en-US" noProof="0"/>
            </a:br>
            <a:r>
              <a:rPr lang="en-US" noProof="0"/>
              <a:t>Edit master text</a:t>
            </a:r>
          </a:p>
          <a:p>
            <a:pPr lvl="0"/>
            <a:r>
              <a:rPr lang="en-US" noProof="0"/>
              <a:t>format</a:t>
            </a:r>
          </a:p>
          <a:p>
            <a:pPr lvl="0"/>
            <a:endParaRPr lang="en-US" noProof="0"/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7BB86B27-C1F4-4CF2-B198-5D4BFE7A1B2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2846" y="5634172"/>
            <a:ext cx="1080000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1</a:t>
            </a:r>
            <a:br>
              <a:rPr lang="en-US" noProof="0"/>
            </a:br>
            <a:r>
              <a:rPr lang="en-US" noProof="0"/>
              <a:t>Edit master text</a:t>
            </a:r>
          </a:p>
          <a:p>
            <a:pPr lvl="0"/>
            <a:r>
              <a:rPr lang="en-US" noProof="0"/>
              <a:t>format</a:t>
            </a:r>
          </a:p>
          <a:p>
            <a:pPr lvl="0"/>
            <a:endParaRPr lang="en-US" noProof="0"/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EB97C8C8-4903-4649-A7C4-146F348AE411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747784" y="5634172"/>
            <a:ext cx="342680" cy="461665"/>
          </a:xfrm>
        </p:spPr>
        <p:txBody>
          <a:bodyPr wrap="none">
            <a:noAutofit/>
          </a:bodyPr>
          <a:lstStyle>
            <a:lvl1pPr algn="l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6F952D61-AD88-4D90-9FD3-D4025F3F52B4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608857" y="5634172"/>
            <a:ext cx="342680" cy="461665"/>
          </a:xfrm>
        </p:spPr>
        <p:txBody>
          <a:bodyPr wrap="none">
            <a:noAutofit/>
          </a:bodyPr>
          <a:lstStyle>
            <a:lvl1pPr algn="l">
              <a:spcAft>
                <a:spcPts val="0"/>
              </a:spcAft>
              <a:defRPr sz="1000"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01</a:t>
            </a:r>
          </a:p>
        </p:txBody>
      </p:sp>
      <p:cxnSp>
        <p:nvCxnSpPr>
          <p:cNvPr id="21" name="Gerade Verbindung 71">
            <a:extLst>
              <a:ext uri="{FF2B5EF4-FFF2-40B4-BE49-F238E27FC236}">
                <a16:creationId xmlns:a16="http://schemas.microsoft.com/office/drawing/2014/main" id="{9F0A74BF-6F8E-4358-901D-D493ED7F05CC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1A5416F-ED2A-4827-8213-6D1F4A03387B}"/>
              </a:ext>
            </a:extLst>
          </p:cNvPr>
          <p:cNvSpPr>
            <a:spLocks noGrp="1"/>
          </p:cNvSpPr>
          <p:nvPr>
            <p:ph type="dt" sz="half" idx="70"/>
          </p:nvPr>
        </p:nvSpPr>
        <p:spPr/>
        <p:txBody>
          <a:bodyPr/>
          <a:lstStyle/>
          <a:p>
            <a:fld id="{BEABB37D-CD33-43AC-81D0-99E8D2119720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BCA377D-1FBB-4BB2-A8B4-C5E06F31771F}"/>
              </a:ext>
            </a:extLst>
          </p:cNvPr>
          <p:cNvSpPr>
            <a:spLocks noGrp="1"/>
          </p:cNvSpPr>
          <p:nvPr>
            <p:ph type="ftr" sz="quarter" idx="7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5D3D571-E499-4DCF-B423-B1E4ADEA9331}"/>
              </a:ext>
            </a:extLst>
          </p:cNvPr>
          <p:cNvSpPr>
            <a:spLocks noGrp="1"/>
          </p:cNvSpPr>
          <p:nvPr>
            <p:ph type="sldNum" sz="quarter" idx="7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499832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 Text Slide | 3x photo, 1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6E754CB4-F023-45A0-B611-0ED33750D9DF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6243442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090A1F3-A7AB-42F7-9FBF-8736DC5882D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9D348FF-9AC7-4A00-B1A3-468BE3014FE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9106002" y="1631837"/>
            <a:ext cx="2570061" cy="3618387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08BEA3D8-5EE9-4798-8C5D-DB778BA72105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518319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5D5B8114-B5D9-41DA-B646-7C160DB49805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3380880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7ADB94BB-27AF-4A29-A952-D0905290E0F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106001" y="5634172"/>
            <a:ext cx="2570061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Edit master text</a:t>
            </a:r>
          </a:p>
          <a:p>
            <a:pPr lvl="0"/>
            <a:r>
              <a:rPr lang="en-US" noProof="0"/>
              <a:t>format</a:t>
            </a:r>
          </a:p>
        </p:txBody>
      </p:sp>
      <p:cxnSp>
        <p:nvCxnSpPr>
          <p:cNvPr id="14" name="Gerade Verbindung 71">
            <a:extLst>
              <a:ext uri="{FF2B5EF4-FFF2-40B4-BE49-F238E27FC236}">
                <a16:creationId xmlns:a16="http://schemas.microsoft.com/office/drawing/2014/main" id="{156DDED1-AB20-4327-B15A-E1C685C766CA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A490FC2-3ECF-494E-9668-92EFD2003067}"/>
              </a:ext>
            </a:extLst>
          </p:cNvPr>
          <p:cNvSpPr>
            <a:spLocks noGrp="1"/>
          </p:cNvSpPr>
          <p:nvPr>
            <p:ph type="dt" sz="half" idx="73"/>
          </p:nvPr>
        </p:nvSpPr>
        <p:spPr/>
        <p:txBody>
          <a:bodyPr/>
          <a:lstStyle/>
          <a:p>
            <a:fld id="{2A75F4C6-0FE8-4315-9F6A-20585B4DD100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3EA0103-F5F3-4AB3-8D51-49AE546C6676}"/>
              </a:ext>
            </a:extLst>
          </p:cNvPr>
          <p:cNvSpPr>
            <a:spLocks noGrp="1"/>
          </p:cNvSpPr>
          <p:nvPr>
            <p:ph type="ftr" sz="quarter" idx="74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DCB3E13-73CE-43B1-86CA-645B7248031D}"/>
              </a:ext>
            </a:extLst>
          </p:cNvPr>
          <p:cNvSpPr>
            <a:spLocks noGrp="1"/>
          </p:cNvSpPr>
          <p:nvPr>
            <p:ph type="sldNum" sz="quarter" idx="75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708704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 Text Slide | 2x photo, 2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6E754CB4-F023-45A0-B611-0ED33750D9DF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6243442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6090A1F3-A7AB-42F7-9FBF-8736DC5882D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9D348FF-9AC7-4A00-B1A3-468BE3014FE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9106002" y="1631837"/>
            <a:ext cx="2570061" cy="3618387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08BEA3D8-5EE9-4798-8C5D-DB778BA72105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518319" y="1631837"/>
            <a:ext cx="2570061" cy="446098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7ADB94BB-27AF-4A29-A952-D0905290E0F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106001" y="5634172"/>
            <a:ext cx="2570061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Edit master text</a:t>
            </a:r>
          </a:p>
          <a:p>
            <a:pPr lvl="0"/>
            <a:r>
              <a:rPr lang="en-US" noProof="0"/>
              <a:t>format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4E465F10-F1D4-4895-B962-24BDBDE68DC0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380880" y="1631837"/>
            <a:ext cx="2570061" cy="3618387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BD1C0236-2D51-4C28-B36B-9C19644B9B5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380880" y="5634172"/>
            <a:ext cx="2570061" cy="461665"/>
          </a:xfrm>
        </p:spPr>
        <p:txBody>
          <a:bodyPr wrap="square">
            <a:noAutofit/>
          </a:bodyPr>
          <a:lstStyle>
            <a:lvl1pPr algn="l">
              <a:spcAft>
                <a:spcPts val="0"/>
              </a:spcAft>
              <a:defRPr sz="1000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Edit master text</a:t>
            </a:r>
          </a:p>
          <a:p>
            <a:pPr lvl="0"/>
            <a:r>
              <a:rPr lang="en-US" noProof="0"/>
              <a:t>format</a:t>
            </a:r>
          </a:p>
        </p:txBody>
      </p:sp>
      <p:cxnSp>
        <p:nvCxnSpPr>
          <p:cNvPr id="16" name="Gerade Verbindung 71">
            <a:extLst>
              <a:ext uri="{FF2B5EF4-FFF2-40B4-BE49-F238E27FC236}">
                <a16:creationId xmlns:a16="http://schemas.microsoft.com/office/drawing/2014/main" id="{B80848F1-2462-4919-81BF-023DB1F5427B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2EB0406-6104-45B2-A50D-9622CC2F9814}"/>
              </a:ext>
            </a:extLst>
          </p:cNvPr>
          <p:cNvSpPr>
            <a:spLocks noGrp="1"/>
          </p:cNvSpPr>
          <p:nvPr>
            <p:ph type="dt" sz="half" idx="74"/>
          </p:nvPr>
        </p:nvSpPr>
        <p:spPr/>
        <p:txBody>
          <a:bodyPr/>
          <a:lstStyle/>
          <a:p>
            <a:fld id="{70A72D78-E7FE-4D06-AD7B-0C19EDB0DFAF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8955648-6AE2-4E7D-AF06-075C42F72E70}"/>
              </a:ext>
            </a:extLst>
          </p:cNvPr>
          <p:cNvSpPr>
            <a:spLocks noGrp="1"/>
          </p:cNvSpPr>
          <p:nvPr>
            <p:ph type="ftr" sz="quarter" idx="75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263E9CF-BBE6-461D-8930-7D7E43D3BC6F}"/>
              </a:ext>
            </a:extLst>
          </p:cNvPr>
          <p:cNvSpPr>
            <a:spLocks noGrp="1"/>
          </p:cNvSpPr>
          <p:nvPr>
            <p:ph type="sldNum" sz="quarter" idx="76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15814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 Text Slide | 2x photo, 2x text - between each ot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276B4CC-8E3B-49AA-A6D3-2C309ED8CFE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2A5093DB-E40A-443C-AE2F-5BD6332BA4D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2844" y="1631837"/>
            <a:ext cx="5433219" cy="2086521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E5BB036-1A1C-4EB9-AF21-69D3C12FF402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242844" y="4006299"/>
            <a:ext cx="5433219" cy="2086521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773FBE26-823C-44A4-9918-6F7FC142C360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518318" y="1631837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F2E74611-DA65-4DA5-8289-B430E76A77AF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518318" y="4006299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cxnSp>
        <p:nvCxnSpPr>
          <p:cNvPr id="15" name="Gerade Verbindung 71">
            <a:extLst>
              <a:ext uri="{FF2B5EF4-FFF2-40B4-BE49-F238E27FC236}">
                <a16:creationId xmlns:a16="http://schemas.microsoft.com/office/drawing/2014/main" id="{7F304551-C66B-4CDC-802C-E89380C7CAF2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2E85E68-330A-4FD4-A107-DEF789FA03C2}"/>
              </a:ext>
            </a:extLst>
          </p:cNvPr>
          <p:cNvSpPr>
            <a:spLocks noGrp="1"/>
          </p:cNvSpPr>
          <p:nvPr>
            <p:ph type="dt" sz="half" idx="74"/>
          </p:nvPr>
        </p:nvSpPr>
        <p:spPr/>
        <p:txBody>
          <a:bodyPr/>
          <a:lstStyle/>
          <a:p>
            <a:fld id="{52355604-92EF-4A21-AE4E-48CBF1DADC26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69F9DD4-74C0-4F0C-9870-B0E1081913FB}"/>
              </a:ext>
            </a:extLst>
          </p:cNvPr>
          <p:cNvSpPr>
            <a:spLocks noGrp="1"/>
          </p:cNvSpPr>
          <p:nvPr>
            <p:ph type="ftr" sz="quarter" idx="75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D1DE772-7157-494D-B316-91775406AF1A}"/>
              </a:ext>
            </a:extLst>
          </p:cNvPr>
          <p:cNvSpPr>
            <a:spLocks noGrp="1"/>
          </p:cNvSpPr>
          <p:nvPr>
            <p:ph type="sldNum" sz="quarter" idx="76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66153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| Extern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92DD91-EAE8-4850-A1F1-29F8A7A57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213089"/>
            <a:ext cx="11157744" cy="738664"/>
          </a:xfrm>
        </p:spPr>
        <p:txBody>
          <a:bodyPr anchor="b" anchorCtr="0"/>
          <a:lstStyle>
            <a:lvl1pPr>
              <a:defRPr sz="4800"/>
            </a:lvl1pPr>
          </a:lstStyle>
          <a:p>
            <a:r>
              <a:rPr lang="en-US" noProof="0"/>
              <a:t>Edit Master Cover Format</a:t>
            </a:r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F52AEE9E-B08F-4C0A-BEEE-04C7FFB48E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9" y="2872085"/>
            <a:ext cx="11157744" cy="738664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48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14F70AEE-5418-4BA1-8B59-6A09F9476A0B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64094" y="290238"/>
            <a:ext cx="518400" cy="519774"/>
          </a:xfrm>
          <a:prstGeom prst="rect">
            <a:avLst/>
          </a:prstGeom>
        </p:spPr>
      </p:pic>
      <p:sp>
        <p:nvSpPr>
          <p:cNvPr id="51" name="Textplatzhalter 14">
            <a:extLst>
              <a:ext uri="{FF2B5EF4-FFF2-40B4-BE49-F238E27FC236}">
                <a16:creationId xmlns:a16="http://schemas.microsoft.com/office/drawing/2014/main" id="{501BEDEB-A8AE-4EFD-9CDF-207454EBAE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9" y="4963183"/>
            <a:ext cx="4319999" cy="184666"/>
          </a:xfrm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Author</a:t>
            </a:r>
          </a:p>
        </p:txBody>
      </p:sp>
      <p:sp>
        <p:nvSpPr>
          <p:cNvPr id="52" name="Textplatzhalter 14">
            <a:extLst>
              <a:ext uri="{FF2B5EF4-FFF2-40B4-BE49-F238E27FC236}">
                <a16:creationId xmlns:a16="http://schemas.microsoft.com/office/drawing/2014/main" id="{D7F978A2-D352-4AAC-BEB1-0402A13EE7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9" y="5139395"/>
            <a:ext cx="4319999" cy="184666"/>
          </a:xfrm>
        </p:spPr>
        <p:txBody>
          <a:bodyPr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Department</a:t>
            </a:r>
          </a:p>
        </p:txBody>
      </p:sp>
      <p:cxnSp>
        <p:nvCxnSpPr>
          <p:cNvPr id="53" name="Gerade Verbindung 22">
            <a:extLst>
              <a:ext uri="{FF2B5EF4-FFF2-40B4-BE49-F238E27FC236}">
                <a16:creationId xmlns:a16="http://schemas.microsoft.com/office/drawing/2014/main" id="{9D058BB7-35BD-4743-A2CE-335778ABA86A}"/>
              </a:ext>
            </a:extLst>
          </p:cNvPr>
          <p:cNvCxnSpPr>
            <a:cxnSpLocks/>
          </p:cNvCxnSpPr>
          <p:nvPr/>
        </p:nvCxnSpPr>
        <p:spPr>
          <a:xfrm>
            <a:off x="518319" y="4887206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22">
            <a:extLst>
              <a:ext uri="{FF2B5EF4-FFF2-40B4-BE49-F238E27FC236}">
                <a16:creationId xmlns:a16="http://schemas.microsoft.com/office/drawing/2014/main" id="{B1AAF8F8-2819-4C84-B15F-6801F5454C9E}"/>
              </a:ext>
            </a:extLst>
          </p:cNvPr>
          <p:cNvCxnSpPr>
            <a:cxnSpLocks/>
          </p:cNvCxnSpPr>
          <p:nvPr/>
        </p:nvCxnSpPr>
        <p:spPr>
          <a:xfrm>
            <a:off x="518319" y="5575864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22">
            <a:extLst>
              <a:ext uri="{FF2B5EF4-FFF2-40B4-BE49-F238E27FC236}">
                <a16:creationId xmlns:a16="http://schemas.microsoft.com/office/drawing/2014/main" id="{9BD901D7-DE81-4C82-B0AD-09E48E69503F}"/>
              </a:ext>
            </a:extLst>
          </p:cNvPr>
          <p:cNvCxnSpPr>
            <a:cxnSpLocks/>
          </p:cNvCxnSpPr>
          <p:nvPr/>
        </p:nvCxnSpPr>
        <p:spPr>
          <a:xfrm>
            <a:off x="518319" y="6093705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22">
            <a:extLst>
              <a:ext uri="{FF2B5EF4-FFF2-40B4-BE49-F238E27FC236}">
                <a16:creationId xmlns:a16="http://schemas.microsoft.com/office/drawing/2014/main" id="{89ECB648-6558-4C1A-B652-7EF5CAECC96D}"/>
              </a:ext>
            </a:extLst>
          </p:cNvPr>
          <p:cNvCxnSpPr>
            <a:cxnSpLocks/>
          </p:cNvCxnSpPr>
          <p:nvPr userDrawn="1"/>
        </p:nvCxnSpPr>
        <p:spPr>
          <a:xfrm>
            <a:off x="518319" y="6093705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Datumsplatzhalter 1">
            <a:extLst>
              <a:ext uri="{FF2B5EF4-FFF2-40B4-BE49-F238E27FC236}">
                <a16:creationId xmlns:a16="http://schemas.microsoft.com/office/drawing/2014/main" id="{EE9F5FC6-0FA4-4F34-B64C-5B688B67F16F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518319" y="5651841"/>
            <a:ext cx="1133324" cy="184666"/>
          </a:xfrm>
        </p:spPr>
        <p:txBody>
          <a:bodyPr vert="horz" wrap="none" lIns="0" tIns="0" rIns="0" bIns="0" rtlCol="0" anchor="t" anchorCtr="0">
            <a:spAutoFit/>
          </a:bodyPr>
          <a:lstStyle>
            <a:lvl1pPr>
              <a:defRPr lang="de-DE" sz="1200" b="1" smtClean="0">
                <a:cs typeface="+mn-cs"/>
              </a:defRPr>
            </a:lvl1pPr>
          </a:lstStyle>
          <a:p>
            <a:pPr>
              <a:spcAft>
                <a:spcPts val="800"/>
              </a:spcAft>
              <a:buFont typeface="Arial" panose="020B0604020202020204" pitchFamily="34" charset="0"/>
              <a:buNone/>
            </a:pPr>
            <a:fld id="{D8EF1967-2AEA-462C-82AF-574ED4D8823D}" type="datetime3">
              <a:rPr lang="en-US" noProof="0" smtClean="0"/>
              <a:t>21 March 2025</a:t>
            </a:fld>
            <a:endParaRPr lang="en-US" noProof="0"/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1D4941A1-E16F-436C-B7AD-5926120C20F7}"/>
              </a:ext>
            </a:extLst>
          </p:cNvPr>
          <p:cNvGrpSpPr/>
          <p:nvPr userDrawn="1"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64" name="Gruppieren 63">
              <a:extLst>
                <a:ext uri="{FF2B5EF4-FFF2-40B4-BE49-F238E27FC236}">
                  <a16:creationId xmlns:a16="http://schemas.microsoft.com/office/drawing/2014/main" id="{95CCCA0A-4F6D-4997-9A71-0915AACC6F6A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76" name="Gerader Verbinder 75">
                <a:extLst>
                  <a:ext uri="{FF2B5EF4-FFF2-40B4-BE49-F238E27FC236}">
                    <a16:creationId xmlns:a16="http://schemas.microsoft.com/office/drawing/2014/main" id="{BBE0F306-8FF4-46DC-BD57-04D346D83B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DF8AA836-E204-45C8-A84A-347CF0F2E88C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B2A1AFF6-18DA-4260-B554-1F8AAFF2618F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74" name="Gerader Verbinder 73">
                <a:extLst>
                  <a:ext uri="{FF2B5EF4-FFF2-40B4-BE49-F238E27FC236}">
                    <a16:creationId xmlns:a16="http://schemas.microsoft.com/office/drawing/2014/main" id="{06D33D7D-808B-4D3C-A71C-C8C2B187F6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A5131992-EBCC-4736-8FD2-852B17A6E878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4F59310F-D730-49AD-922B-07279D1FB3EE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72" name="Gerader Verbinder 71">
                <a:extLst>
                  <a:ext uri="{FF2B5EF4-FFF2-40B4-BE49-F238E27FC236}">
                    <a16:creationId xmlns:a16="http://schemas.microsoft.com/office/drawing/2014/main" id="{BAF3ED95-E7C8-4B55-8940-22FEDE14E0A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3" name="Textfeld 72">
                <a:extLst>
                  <a:ext uri="{FF2B5EF4-FFF2-40B4-BE49-F238E27FC236}">
                    <a16:creationId xmlns:a16="http://schemas.microsoft.com/office/drawing/2014/main" id="{FE1BC04F-5639-4896-A878-B286A36F4509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3E2AC791-FB90-4350-A0FB-480413CBEBBE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9" name="Gruppieren 68">
              <a:extLst>
                <a:ext uri="{FF2B5EF4-FFF2-40B4-BE49-F238E27FC236}">
                  <a16:creationId xmlns:a16="http://schemas.microsoft.com/office/drawing/2014/main" id="{F8C55E8A-1695-4EB7-B0FA-028246175A48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70" name="Gerader Verbinder 69">
                <a:extLst>
                  <a:ext uri="{FF2B5EF4-FFF2-40B4-BE49-F238E27FC236}">
                    <a16:creationId xmlns:a16="http://schemas.microsoft.com/office/drawing/2014/main" id="{89CF513B-B72E-4830-B4B4-EFAF3A4CAC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1" name="Textfeld 70">
                <a:extLst>
                  <a:ext uri="{FF2B5EF4-FFF2-40B4-BE49-F238E27FC236}">
                    <a16:creationId xmlns:a16="http://schemas.microsoft.com/office/drawing/2014/main" id="{29F7348A-D846-4A7B-84FF-B5860DF1D52F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85F835F7-B840-47AB-A1B3-17BE3A5B6CBB}"/>
              </a:ext>
            </a:extLst>
          </p:cNvPr>
          <p:cNvGrpSpPr/>
          <p:nvPr userDrawn="1"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79" name="Gruppieren 78">
              <a:extLst>
                <a:ext uri="{FF2B5EF4-FFF2-40B4-BE49-F238E27FC236}">
                  <a16:creationId xmlns:a16="http://schemas.microsoft.com/office/drawing/2014/main" id="{CD9F2635-2714-451B-B3EC-2CDDDDE763CA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6F05125A-AE71-4489-B42C-56B823A5FEF7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92</a:t>
                </a:r>
              </a:p>
            </p:txBody>
          </p:sp>
          <p:cxnSp>
            <p:nvCxnSpPr>
              <p:cNvPr id="97" name="Gerader Verbinder 96">
                <a:extLst>
                  <a:ext uri="{FF2B5EF4-FFF2-40B4-BE49-F238E27FC236}">
                    <a16:creationId xmlns:a16="http://schemas.microsoft.com/office/drawing/2014/main" id="{94B8D4D5-C4A9-4531-8EF2-7DBA992A61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09FDA9E0-86FD-4180-B6B6-C1037A995460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94" name="Gerader Verbinder 93">
                <a:extLst>
                  <a:ext uri="{FF2B5EF4-FFF2-40B4-BE49-F238E27FC236}">
                    <a16:creationId xmlns:a16="http://schemas.microsoft.com/office/drawing/2014/main" id="{28C14BFC-3126-4072-924E-B0CD7E66FA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225CD528-02F8-458D-AC8C-B407D651922D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.40</a:t>
                </a:r>
              </a:p>
            </p:txBody>
          </p:sp>
        </p:grpSp>
        <p:grpSp>
          <p:nvGrpSpPr>
            <p:cNvPr id="81" name="Gruppieren 80">
              <a:extLst>
                <a:ext uri="{FF2B5EF4-FFF2-40B4-BE49-F238E27FC236}">
                  <a16:creationId xmlns:a16="http://schemas.microsoft.com/office/drawing/2014/main" id="{46628741-3FF3-48C4-8A78-528C28C46B2E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92" name="Gerader Verbinder 91">
                <a:extLst>
                  <a:ext uri="{FF2B5EF4-FFF2-40B4-BE49-F238E27FC236}">
                    <a16:creationId xmlns:a16="http://schemas.microsoft.com/office/drawing/2014/main" id="{FF7CD634-2671-47DC-A684-D9B7F3ECEC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Textfeld 92">
                <a:extLst>
                  <a:ext uri="{FF2B5EF4-FFF2-40B4-BE49-F238E27FC236}">
                    <a16:creationId xmlns:a16="http://schemas.microsoft.com/office/drawing/2014/main" id="{260213D2-A004-41CD-97B1-273DC2FCE829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00</a:t>
                </a:r>
              </a:p>
            </p:txBody>
          </p:sp>
        </p:grpSp>
        <p:grpSp>
          <p:nvGrpSpPr>
            <p:cNvPr id="82" name="Gruppieren 81">
              <a:extLst>
                <a:ext uri="{FF2B5EF4-FFF2-40B4-BE49-F238E27FC236}">
                  <a16:creationId xmlns:a16="http://schemas.microsoft.com/office/drawing/2014/main" id="{953DA4E8-5496-4A61-BFC5-F3B23C49B35D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90" name="Gerader Verbinder 89">
                <a:extLst>
                  <a:ext uri="{FF2B5EF4-FFF2-40B4-BE49-F238E27FC236}">
                    <a16:creationId xmlns:a16="http://schemas.microsoft.com/office/drawing/2014/main" id="{111CB93E-7D30-4866-BB78-2BE66CAF02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1" name="Textfeld 90">
                <a:extLst>
                  <a:ext uri="{FF2B5EF4-FFF2-40B4-BE49-F238E27FC236}">
                    <a16:creationId xmlns:a16="http://schemas.microsoft.com/office/drawing/2014/main" id="{F712AFB8-35E9-48CB-A3D3-414A85A06375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.60</a:t>
                </a:r>
              </a:p>
            </p:txBody>
          </p:sp>
        </p:grpSp>
        <p:grpSp>
          <p:nvGrpSpPr>
            <p:cNvPr id="84" name="Gruppieren 83">
              <a:extLst>
                <a:ext uri="{FF2B5EF4-FFF2-40B4-BE49-F238E27FC236}">
                  <a16:creationId xmlns:a16="http://schemas.microsoft.com/office/drawing/2014/main" id="{788084EB-31A7-4A3A-A652-65DD7C8CE915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88" name="Gerader Verbinder 87">
                <a:extLst>
                  <a:ext uri="{FF2B5EF4-FFF2-40B4-BE49-F238E27FC236}">
                    <a16:creationId xmlns:a16="http://schemas.microsoft.com/office/drawing/2014/main" id="{2FFFAE39-7E6A-422B-BF9F-192123EF40B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9" name="Textfeld 88">
                <a:extLst>
                  <a:ext uri="{FF2B5EF4-FFF2-40B4-BE49-F238E27FC236}">
                    <a16:creationId xmlns:a16="http://schemas.microsoft.com/office/drawing/2014/main" id="{45325641-A15F-43D5-A0BA-0E7545705EF2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.00</a:t>
                </a:r>
              </a:p>
            </p:txBody>
          </p:sp>
        </p:grpSp>
        <p:grpSp>
          <p:nvGrpSpPr>
            <p:cNvPr id="85" name="Gruppieren 84">
              <a:extLst>
                <a:ext uri="{FF2B5EF4-FFF2-40B4-BE49-F238E27FC236}">
                  <a16:creationId xmlns:a16="http://schemas.microsoft.com/office/drawing/2014/main" id="{8982A394-83B7-4E8A-BBE7-797059D2DA27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86" name="Gerader Verbinder 85">
                <a:extLst>
                  <a:ext uri="{FF2B5EF4-FFF2-40B4-BE49-F238E27FC236}">
                    <a16:creationId xmlns:a16="http://schemas.microsoft.com/office/drawing/2014/main" id="{7F71B877-275A-445C-8F5C-EB18E47299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7F5DD554-B779-44BB-8F67-8F28A4AE5F44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70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520643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 Text Slide | 2x photo, 2x text - next to each ot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A276B4CC-8E3B-49AA-A6D3-2C309ED8CFE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E5BB036-1A1C-4EB9-AF21-69D3C12FF402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242844" y="4006299"/>
            <a:ext cx="5433219" cy="2086521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773FBE26-823C-44A4-9918-6F7FC142C360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518318" y="1631837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870DAB1F-D24A-4A98-83A6-AFA36A6FC73E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6242844" y="1631837"/>
            <a:ext cx="5433219" cy="2086517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en-US" noProof="0"/>
              <a:t> 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A7040DB9-A329-4F37-A50E-67E566A8CCC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18318" y="4006299"/>
            <a:ext cx="5433219" cy="2086521"/>
          </a:xfrm>
        </p:spPr>
        <p:txBody>
          <a:bodyPr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14" name="Gerade Verbindung 71">
            <a:extLst>
              <a:ext uri="{FF2B5EF4-FFF2-40B4-BE49-F238E27FC236}">
                <a16:creationId xmlns:a16="http://schemas.microsoft.com/office/drawing/2014/main" id="{C6865517-E7AB-479B-B301-361C9726E50F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FC9287A-CD69-44F6-863F-D2F4B62FB05B}"/>
              </a:ext>
            </a:extLst>
          </p:cNvPr>
          <p:cNvSpPr>
            <a:spLocks noGrp="1"/>
          </p:cNvSpPr>
          <p:nvPr>
            <p:ph type="dt" sz="half" idx="75"/>
          </p:nvPr>
        </p:nvSpPr>
        <p:spPr/>
        <p:txBody>
          <a:bodyPr/>
          <a:lstStyle/>
          <a:p>
            <a:fld id="{22A57775-4A1E-46D2-BDD1-8DB2F8E837CE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6BBE43D-62FE-4990-B23B-4C909E75B1C9}"/>
              </a:ext>
            </a:extLst>
          </p:cNvPr>
          <p:cNvSpPr>
            <a:spLocks noGrp="1"/>
          </p:cNvSpPr>
          <p:nvPr>
            <p:ph type="ftr" sz="quarter" idx="76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E033AB9-360F-42F9-BD07-EADE8FDD01FA}"/>
              </a:ext>
            </a:extLst>
          </p:cNvPr>
          <p:cNvSpPr>
            <a:spLocks noGrp="1"/>
          </p:cNvSpPr>
          <p:nvPr>
            <p:ph type="sldNum" sz="quarter" idx="77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566376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only | free choice of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5D2E05C-DF1C-4C7B-B878-BC14435387A5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cxnSp>
        <p:nvCxnSpPr>
          <p:cNvPr id="10" name="Gerade Verbindung 71">
            <a:extLst>
              <a:ext uri="{FF2B5EF4-FFF2-40B4-BE49-F238E27FC236}">
                <a16:creationId xmlns:a16="http://schemas.microsoft.com/office/drawing/2014/main" id="{7DF7DF9F-1FE6-4E11-A1E5-13620458417C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F9BA8E-4825-48A6-A582-4216864907D7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72076A3-DEA6-4B13-9AAD-70073C46D293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C4A35DA-5FD7-43D7-B4DF-9C598553FEFF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895943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Grafik 76">
            <a:extLst>
              <a:ext uri="{FF2B5EF4-FFF2-40B4-BE49-F238E27FC236}">
                <a16:creationId xmlns:a16="http://schemas.microsoft.com/office/drawing/2014/main" id="{D3DB975A-CF9E-4989-8391-5B4E38D67A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6970" y="1555330"/>
            <a:ext cx="2853530" cy="3138401"/>
          </a:xfrm>
          <a:prstGeom prst="rect">
            <a:avLst/>
          </a:prstGeom>
        </p:spPr>
      </p:pic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39D9F1EE-5469-436B-B6FD-BD7093E16120}"/>
              </a:ext>
            </a:extLst>
          </p:cNvPr>
          <p:cNvGrpSpPr/>
          <p:nvPr userDrawn="1"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A20FA61A-C25D-4B6B-8A62-8E2D7978A7B8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67" name="Gerader Verbinder 66">
                <a:extLst>
                  <a:ext uri="{FF2B5EF4-FFF2-40B4-BE49-F238E27FC236}">
                    <a16:creationId xmlns:a16="http://schemas.microsoft.com/office/drawing/2014/main" id="{47E541F9-957E-4CA5-8C23-AA7343EEA78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239BB221-62CD-4E4C-B9F1-3C664538F707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  <p:grpSp>
          <p:nvGrpSpPr>
            <p:cNvPr id="56" name="Gruppieren 55">
              <a:extLst>
                <a:ext uri="{FF2B5EF4-FFF2-40B4-BE49-F238E27FC236}">
                  <a16:creationId xmlns:a16="http://schemas.microsoft.com/office/drawing/2014/main" id="{B14E815F-3FD4-4DFC-9BFA-C33AA5D18C1E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65" name="Gerader Verbinder 64">
                <a:extLst>
                  <a:ext uri="{FF2B5EF4-FFF2-40B4-BE49-F238E27FC236}">
                    <a16:creationId xmlns:a16="http://schemas.microsoft.com/office/drawing/2014/main" id="{741BAD09-A2C9-4AE4-8A82-255F8EA71B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074B4C50-32F6-4707-B9DB-1E7FAF559D77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grpSp>
          <p:nvGrpSpPr>
            <p:cNvPr id="58" name="Gruppieren 57">
              <a:extLst>
                <a:ext uri="{FF2B5EF4-FFF2-40B4-BE49-F238E27FC236}">
                  <a16:creationId xmlns:a16="http://schemas.microsoft.com/office/drawing/2014/main" id="{BD4CAED8-A63D-41A6-B258-EE43C87DCA81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63" name="Gerader Verbinder 62">
                <a:extLst>
                  <a:ext uri="{FF2B5EF4-FFF2-40B4-BE49-F238E27FC236}">
                    <a16:creationId xmlns:a16="http://schemas.microsoft.com/office/drawing/2014/main" id="{D39E2769-C859-4CBA-A055-9C13A3B0BCF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E412712A-69EA-45B9-AF9B-C8AA7DAAEA20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AA4C83C0-D56E-4002-9981-0CD08706F1E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0" name="Gruppieren 59">
              <a:extLst>
                <a:ext uri="{FF2B5EF4-FFF2-40B4-BE49-F238E27FC236}">
                  <a16:creationId xmlns:a16="http://schemas.microsoft.com/office/drawing/2014/main" id="{07F2B5B1-F03A-45D9-9970-B21C134F03FF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61" name="Gerader Verbinder 60">
                <a:extLst>
                  <a:ext uri="{FF2B5EF4-FFF2-40B4-BE49-F238E27FC236}">
                    <a16:creationId xmlns:a16="http://schemas.microsoft.com/office/drawing/2014/main" id="{C8CC48FA-EDBD-4970-90FD-1B63014723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2" name="Textfeld 61">
                <a:extLst>
                  <a:ext uri="{FF2B5EF4-FFF2-40B4-BE49-F238E27FC236}">
                    <a16:creationId xmlns:a16="http://schemas.microsoft.com/office/drawing/2014/main" id="{CF51976A-99FF-4C02-966F-A844870302F6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9822BDDA-FFB6-4151-9F6A-21339FB17D06}"/>
              </a:ext>
            </a:extLst>
          </p:cNvPr>
          <p:cNvGrpSpPr/>
          <p:nvPr userDrawn="1"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70" name="Gruppieren 69">
              <a:extLst>
                <a:ext uri="{FF2B5EF4-FFF2-40B4-BE49-F238E27FC236}">
                  <a16:creationId xmlns:a16="http://schemas.microsoft.com/office/drawing/2014/main" id="{42E651D2-A86B-4865-9091-E5A2723E842C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6C7BD123-9109-4729-A470-B8EE4CF9391F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92</a:t>
                </a:r>
              </a:p>
            </p:txBody>
          </p:sp>
          <p:cxnSp>
            <p:nvCxnSpPr>
              <p:cNvPr id="89" name="Gerader Verbinder 88">
                <a:extLst>
                  <a:ext uri="{FF2B5EF4-FFF2-40B4-BE49-F238E27FC236}">
                    <a16:creationId xmlns:a16="http://schemas.microsoft.com/office/drawing/2014/main" id="{5F424E7D-5F74-48CC-96BA-3FF16BD6E1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uppieren 70">
              <a:extLst>
                <a:ext uri="{FF2B5EF4-FFF2-40B4-BE49-F238E27FC236}">
                  <a16:creationId xmlns:a16="http://schemas.microsoft.com/office/drawing/2014/main" id="{9B589752-3D72-4CB2-9DDE-891F3C480BF3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86" name="Gerader Verbinder 85">
                <a:extLst>
                  <a:ext uri="{FF2B5EF4-FFF2-40B4-BE49-F238E27FC236}">
                    <a16:creationId xmlns:a16="http://schemas.microsoft.com/office/drawing/2014/main" id="{EF18B92C-235F-47B1-BC0F-5A2E5A900A9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5CC7113B-94DC-4CDF-B563-53198D764369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.40</a:t>
                </a:r>
              </a:p>
            </p:txBody>
          </p:sp>
        </p:grpSp>
        <p:grpSp>
          <p:nvGrpSpPr>
            <p:cNvPr id="72" name="Gruppieren 71">
              <a:extLst>
                <a:ext uri="{FF2B5EF4-FFF2-40B4-BE49-F238E27FC236}">
                  <a16:creationId xmlns:a16="http://schemas.microsoft.com/office/drawing/2014/main" id="{14ACF831-08AE-48A2-9E29-E74FE2796AF9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84" name="Gerader Verbinder 83">
                <a:extLst>
                  <a:ext uri="{FF2B5EF4-FFF2-40B4-BE49-F238E27FC236}">
                    <a16:creationId xmlns:a16="http://schemas.microsoft.com/office/drawing/2014/main" id="{9C65C0D1-04FE-4719-ABDF-020405CC84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E4D054E0-452E-4349-B1B6-3C4E048FD3C7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00</a:t>
                </a:r>
              </a:p>
            </p:txBody>
          </p:sp>
        </p:grpSp>
        <p:grpSp>
          <p:nvGrpSpPr>
            <p:cNvPr id="73" name="Gruppieren 72">
              <a:extLst>
                <a:ext uri="{FF2B5EF4-FFF2-40B4-BE49-F238E27FC236}">
                  <a16:creationId xmlns:a16="http://schemas.microsoft.com/office/drawing/2014/main" id="{9003178A-DE83-471E-97EB-710BA1B82A10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82" name="Gerader Verbinder 81">
                <a:extLst>
                  <a:ext uri="{FF2B5EF4-FFF2-40B4-BE49-F238E27FC236}">
                    <a16:creationId xmlns:a16="http://schemas.microsoft.com/office/drawing/2014/main" id="{565CB5B8-8C91-4217-B5FF-08A8349642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2B01466E-641C-4A41-A767-69FF26129E38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.60</a:t>
                </a:r>
              </a:p>
            </p:txBody>
          </p:sp>
        </p:grpSp>
        <p:grpSp>
          <p:nvGrpSpPr>
            <p:cNvPr id="75" name="Gruppieren 74">
              <a:extLst>
                <a:ext uri="{FF2B5EF4-FFF2-40B4-BE49-F238E27FC236}">
                  <a16:creationId xmlns:a16="http://schemas.microsoft.com/office/drawing/2014/main" id="{DD6B9B7C-9A17-46DC-B50D-BC2A06C0DF03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117CA6B2-C761-47C1-8CF9-B2C45C97607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AD89420E-7BD9-4108-B9CC-B84D331C162C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.00</a:t>
                </a:r>
              </a:p>
            </p:txBody>
          </p:sp>
        </p:grpSp>
        <p:grpSp>
          <p:nvGrpSpPr>
            <p:cNvPr id="76" name="Gruppieren 75">
              <a:extLst>
                <a:ext uri="{FF2B5EF4-FFF2-40B4-BE49-F238E27FC236}">
                  <a16:creationId xmlns:a16="http://schemas.microsoft.com/office/drawing/2014/main" id="{163FC54C-A167-494B-9F4A-058AADC8B83E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1FC525F1-A992-4FA6-8040-8B6AAA6C8D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9AA31042-65E5-4306-B96F-79C6151451B9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70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162596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|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92DD91-EAE8-4850-A1F1-29F8A7A57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213089"/>
            <a:ext cx="11157744" cy="738664"/>
          </a:xfrm>
        </p:spPr>
        <p:txBody>
          <a:bodyPr anchor="b" anchorCtr="0"/>
          <a:lstStyle>
            <a:lvl1pPr>
              <a:defRPr sz="4800" b="0"/>
            </a:lvl1pPr>
          </a:lstStyle>
          <a:p>
            <a:r>
              <a:rPr lang="en-US" noProof="0"/>
              <a:t>Edit Master Cover Forma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810713E-3804-4787-B0E9-28105C274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9725" y="4965080"/>
            <a:ext cx="3228592" cy="184666"/>
          </a:xfrm>
        </p:spPr>
        <p:txBody>
          <a:bodyPr wrap="square"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Target group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5E062E4E-FEC5-4007-94FA-E26B3F377E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09725" y="5141291"/>
            <a:ext cx="3228592" cy="697105"/>
          </a:xfrm>
        </p:spPr>
        <p:txBody>
          <a:bodyPr wrap="square">
            <a:noAutofit/>
          </a:bodyPr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Aim</a:t>
            </a: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B988E013-D7EA-4250-95FD-1943849D45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6107" y="4965080"/>
            <a:ext cx="4319999" cy="184666"/>
          </a:xfrm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Author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FCFD2F7D-2405-47CC-ADE1-89F4F050B1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96107" y="5141292"/>
            <a:ext cx="4319999" cy="184666"/>
          </a:xfrm>
        </p:spPr>
        <p:txBody>
          <a:bodyPr>
            <a:spAutoFit/>
          </a:bodyPr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Department</a:t>
            </a:r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F52AEE9E-B08F-4C0A-BEEE-04C7FFB48E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9" y="2872085"/>
            <a:ext cx="11157744" cy="738664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48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CC8FB38F-2B01-480C-950B-2AE2C5333D74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64094" y="290238"/>
            <a:ext cx="518400" cy="519774"/>
          </a:xfrm>
          <a:prstGeom prst="rect">
            <a:avLst/>
          </a:prstGeom>
        </p:spPr>
      </p:pic>
      <p:cxnSp>
        <p:nvCxnSpPr>
          <p:cNvPr id="55" name="Gerade Verbindung 22">
            <a:extLst>
              <a:ext uri="{FF2B5EF4-FFF2-40B4-BE49-F238E27FC236}">
                <a16:creationId xmlns:a16="http://schemas.microsoft.com/office/drawing/2014/main" id="{0FD81930-1AB6-453C-8CF7-2246B3482FB4}"/>
              </a:ext>
            </a:extLst>
          </p:cNvPr>
          <p:cNvCxnSpPr>
            <a:cxnSpLocks/>
          </p:cNvCxnSpPr>
          <p:nvPr/>
        </p:nvCxnSpPr>
        <p:spPr>
          <a:xfrm>
            <a:off x="5096108" y="4889103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22">
            <a:extLst>
              <a:ext uri="{FF2B5EF4-FFF2-40B4-BE49-F238E27FC236}">
                <a16:creationId xmlns:a16="http://schemas.microsoft.com/office/drawing/2014/main" id="{F4D114BB-7210-400E-8A65-8B658E626712}"/>
              </a:ext>
            </a:extLst>
          </p:cNvPr>
          <p:cNvCxnSpPr>
            <a:cxnSpLocks/>
          </p:cNvCxnSpPr>
          <p:nvPr/>
        </p:nvCxnSpPr>
        <p:spPr>
          <a:xfrm>
            <a:off x="5096107" y="5577761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22">
            <a:extLst>
              <a:ext uri="{FF2B5EF4-FFF2-40B4-BE49-F238E27FC236}">
                <a16:creationId xmlns:a16="http://schemas.microsoft.com/office/drawing/2014/main" id="{71C425F1-6606-4095-917F-0A5EABB8E022}"/>
              </a:ext>
            </a:extLst>
          </p:cNvPr>
          <p:cNvCxnSpPr>
            <a:cxnSpLocks/>
          </p:cNvCxnSpPr>
          <p:nvPr/>
        </p:nvCxnSpPr>
        <p:spPr>
          <a:xfrm>
            <a:off x="5096107" y="6093705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22">
            <a:extLst>
              <a:ext uri="{FF2B5EF4-FFF2-40B4-BE49-F238E27FC236}">
                <a16:creationId xmlns:a16="http://schemas.microsoft.com/office/drawing/2014/main" id="{929C78D0-9AC5-4AD0-BA80-D1DBD8376211}"/>
              </a:ext>
            </a:extLst>
          </p:cNvPr>
          <p:cNvCxnSpPr>
            <a:cxnSpLocks/>
          </p:cNvCxnSpPr>
          <p:nvPr userDrawn="1"/>
        </p:nvCxnSpPr>
        <p:spPr>
          <a:xfrm>
            <a:off x="5096107" y="6093705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22">
            <a:extLst>
              <a:ext uri="{FF2B5EF4-FFF2-40B4-BE49-F238E27FC236}">
                <a16:creationId xmlns:a16="http://schemas.microsoft.com/office/drawing/2014/main" id="{B7AC5EDF-D9FB-40CE-BD44-B44AB9AF273D}"/>
              </a:ext>
            </a:extLst>
          </p:cNvPr>
          <p:cNvCxnSpPr>
            <a:cxnSpLocks/>
          </p:cNvCxnSpPr>
          <p:nvPr userDrawn="1"/>
        </p:nvCxnSpPr>
        <p:spPr>
          <a:xfrm>
            <a:off x="518318" y="4889103"/>
            <a:ext cx="4319998" cy="0"/>
          </a:xfrm>
          <a:prstGeom prst="line">
            <a:avLst/>
          </a:prstGeom>
          <a:ln w="6350">
            <a:solidFill>
              <a:srgbClr val="D0D0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6B3858EA-1E2B-40BB-88B6-70384BC3466D}"/>
              </a:ext>
            </a:extLst>
          </p:cNvPr>
          <p:cNvSpPr txBox="1"/>
          <p:nvPr userDrawn="1"/>
        </p:nvSpPr>
        <p:spPr>
          <a:xfrm>
            <a:off x="518318" y="4965080"/>
            <a:ext cx="99298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None/>
              <a:tabLst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Target group: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53F235B6-8F15-44AD-A35D-04C9940BCC70}"/>
              </a:ext>
            </a:extLst>
          </p:cNvPr>
          <p:cNvSpPr txBox="1"/>
          <p:nvPr userDrawn="1"/>
        </p:nvSpPr>
        <p:spPr>
          <a:xfrm>
            <a:off x="518318" y="5141291"/>
            <a:ext cx="8991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None/>
              <a:tabLst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Aim:</a:t>
            </a:r>
          </a:p>
        </p:txBody>
      </p:sp>
      <p:sp>
        <p:nvSpPr>
          <p:cNvPr id="56" name="Datumsplatzhalter 1">
            <a:extLst>
              <a:ext uri="{FF2B5EF4-FFF2-40B4-BE49-F238E27FC236}">
                <a16:creationId xmlns:a16="http://schemas.microsoft.com/office/drawing/2014/main" id="{9F0E4168-0E71-4DE7-8FF5-47D395861FDE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5096107" y="5651841"/>
            <a:ext cx="1133324" cy="184666"/>
          </a:xfrm>
        </p:spPr>
        <p:txBody>
          <a:bodyPr vert="horz" wrap="none" lIns="0" tIns="0" rIns="0" bIns="0" rtlCol="0" anchor="t" anchorCtr="0">
            <a:spAutoFit/>
          </a:bodyPr>
          <a:lstStyle>
            <a:lvl1pPr>
              <a:defRPr lang="de-DE" sz="1200" b="1" smtClean="0">
                <a:cs typeface="+mn-cs"/>
              </a:defRPr>
            </a:lvl1pPr>
          </a:lstStyle>
          <a:p>
            <a:pPr>
              <a:spcAft>
                <a:spcPts val="800"/>
              </a:spcAft>
              <a:buFont typeface="Arial" panose="020B0604020202020204" pitchFamily="34" charset="0"/>
              <a:buNone/>
            </a:pPr>
            <a:fld id="{950DE3CC-7E95-4832-9D72-DE52214C72D1}" type="datetime3">
              <a:rPr lang="en-US" noProof="0" smtClean="0"/>
              <a:t>21 March 2025</a:t>
            </a:fld>
            <a:endParaRPr lang="en-US" noProof="0"/>
          </a:p>
        </p:txBody>
      </p: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197CB04D-EB03-45CB-B5ED-4F864F8CEF1A}"/>
              </a:ext>
            </a:extLst>
          </p:cNvPr>
          <p:cNvGrpSpPr/>
          <p:nvPr userDrawn="1"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70" name="Gruppieren 69">
              <a:extLst>
                <a:ext uri="{FF2B5EF4-FFF2-40B4-BE49-F238E27FC236}">
                  <a16:creationId xmlns:a16="http://schemas.microsoft.com/office/drawing/2014/main" id="{1825A908-5668-4FCC-A100-BC0D20D54A24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82" name="Gerader Verbinder 81">
                <a:extLst>
                  <a:ext uri="{FF2B5EF4-FFF2-40B4-BE49-F238E27FC236}">
                    <a16:creationId xmlns:a16="http://schemas.microsoft.com/office/drawing/2014/main" id="{81BA1A91-05F1-42FA-BF4D-BBC54D312BA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B6B2AE94-C69B-4568-A27F-BEDD90173A3A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  <p:grpSp>
          <p:nvGrpSpPr>
            <p:cNvPr id="71" name="Gruppieren 70">
              <a:extLst>
                <a:ext uri="{FF2B5EF4-FFF2-40B4-BE49-F238E27FC236}">
                  <a16:creationId xmlns:a16="http://schemas.microsoft.com/office/drawing/2014/main" id="{5EFE2106-BED2-47D0-9D8E-C0495EB5D869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018329BD-BC13-47EF-A9B8-BD503AC80A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82E7142B-12B0-4C92-9BB3-8C69CA5CAF18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grpSp>
          <p:nvGrpSpPr>
            <p:cNvPr id="73" name="Gruppieren 72">
              <a:extLst>
                <a:ext uri="{FF2B5EF4-FFF2-40B4-BE49-F238E27FC236}">
                  <a16:creationId xmlns:a16="http://schemas.microsoft.com/office/drawing/2014/main" id="{D98D8851-09B4-4E2B-A2C2-3C70638E0169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77FDBAA1-47D4-40F0-9083-A94E7DD209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54A061C5-07D5-47B1-AD25-766754C34C76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40A82033-663D-427B-B57A-E808283C3B1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5" name="Gruppieren 74">
              <a:extLst>
                <a:ext uri="{FF2B5EF4-FFF2-40B4-BE49-F238E27FC236}">
                  <a16:creationId xmlns:a16="http://schemas.microsoft.com/office/drawing/2014/main" id="{7625F99E-EA5B-42C3-9774-3B1BE2E13F2B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76" name="Gerader Verbinder 75">
                <a:extLst>
                  <a:ext uri="{FF2B5EF4-FFF2-40B4-BE49-F238E27FC236}">
                    <a16:creationId xmlns:a16="http://schemas.microsoft.com/office/drawing/2014/main" id="{390214D7-4A0E-4F8A-A246-02D7ABE3ED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06EDA3BB-7FDF-4EB3-B0C4-2FF49591D02F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C203BE44-20BC-422E-86CC-50B856F47C62}"/>
              </a:ext>
            </a:extLst>
          </p:cNvPr>
          <p:cNvGrpSpPr/>
          <p:nvPr userDrawn="1"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85" name="Gruppieren 84">
              <a:extLst>
                <a:ext uri="{FF2B5EF4-FFF2-40B4-BE49-F238E27FC236}">
                  <a16:creationId xmlns:a16="http://schemas.microsoft.com/office/drawing/2014/main" id="{6FC5383C-36BE-43CA-8AB9-7EAA13CB6DE2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102" name="Textfeld 101">
                <a:extLst>
                  <a:ext uri="{FF2B5EF4-FFF2-40B4-BE49-F238E27FC236}">
                    <a16:creationId xmlns:a16="http://schemas.microsoft.com/office/drawing/2014/main" id="{9A4F1EBC-75E7-43C6-A6B7-4749726088E1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92</a:t>
                </a:r>
              </a:p>
            </p:txBody>
          </p:sp>
          <p:cxnSp>
            <p:nvCxnSpPr>
              <p:cNvPr id="103" name="Gerader Verbinder 102">
                <a:extLst>
                  <a:ext uri="{FF2B5EF4-FFF2-40B4-BE49-F238E27FC236}">
                    <a16:creationId xmlns:a16="http://schemas.microsoft.com/office/drawing/2014/main" id="{4B3D592A-FC61-4B3C-A952-DFDC83DB22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6" name="Gruppieren 85">
              <a:extLst>
                <a:ext uri="{FF2B5EF4-FFF2-40B4-BE49-F238E27FC236}">
                  <a16:creationId xmlns:a16="http://schemas.microsoft.com/office/drawing/2014/main" id="{E7444C6B-6250-4D01-8A89-DA16913C0C32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CA2B90C5-F226-4AFD-BFCD-5312226E19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1" name="Textfeld 100">
                <a:extLst>
                  <a:ext uri="{FF2B5EF4-FFF2-40B4-BE49-F238E27FC236}">
                    <a16:creationId xmlns:a16="http://schemas.microsoft.com/office/drawing/2014/main" id="{842137F8-F2FA-45E7-85B0-4E1DCD534ADE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.40</a:t>
                </a:r>
              </a:p>
            </p:txBody>
          </p:sp>
        </p:grpSp>
        <p:grpSp>
          <p:nvGrpSpPr>
            <p:cNvPr id="87" name="Gruppieren 86">
              <a:extLst>
                <a:ext uri="{FF2B5EF4-FFF2-40B4-BE49-F238E27FC236}">
                  <a16:creationId xmlns:a16="http://schemas.microsoft.com/office/drawing/2014/main" id="{771FDBE6-C21F-4BE0-B850-D27613A73112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98" name="Gerader Verbinder 97">
                <a:extLst>
                  <a:ext uri="{FF2B5EF4-FFF2-40B4-BE49-F238E27FC236}">
                    <a16:creationId xmlns:a16="http://schemas.microsoft.com/office/drawing/2014/main" id="{AD253D29-75C6-4AD6-A06B-C72F694BE3E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9" name="Textfeld 98">
                <a:extLst>
                  <a:ext uri="{FF2B5EF4-FFF2-40B4-BE49-F238E27FC236}">
                    <a16:creationId xmlns:a16="http://schemas.microsoft.com/office/drawing/2014/main" id="{8EA52A1E-D0A2-4E2F-AAB2-98D71C586BF1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00</a:t>
                </a:r>
              </a:p>
            </p:txBody>
          </p:sp>
        </p:grpSp>
        <p:grpSp>
          <p:nvGrpSpPr>
            <p:cNvPr id="88" name="Gruppieren 87">
              <a:extLst>
                <a:ext uri="{FF2B5EF4-FFF2-40B4-BE49-F238E27FC236}">
                  <a16:creationId xmlns:a16="http://schemas.microsoft.com/office/drawing/2014/main" id="{9AB4F67F-64D7-474E-B413-C83E9F21029F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96" name="Gerader Verbinder 95">
                <a:extLst>
                  <a:ext uri="{FF2B5EF4-FFF2-40B4-BE49-F238E27FC236}">
                    <a16:creationId xmlns:a16="http://schemas.microsoft.com/office/drawing/2014/main" id="{B7483F8C-A580-48CB-BE06-89818DD9F5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7" name="Textfeld 96">
                <a:extLst>
                  <a:ext uri="{FF2B5EF4-FFF2-40B4-BE49-F238E27FC236}">
                    <a16:creationId xmlns:a16="http://schemas.microsoft.com/office/drawing/2014/main" id="{43955F50-23D0-4D24-BA2A-46F8E788D6A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.60</a:t>
                </a:r>
              </a:p>
            </p:txBody>
          </p:sp>
        </p:grpSp>
        <p:grpSp>
          <p:nvGrpSpPr>
            <p:cNvPr id="90" name="Gruppieren 89">
              <a:extLst>
                <a:ext uri="{FF2B5EF4-FFF2-40B4-BE49-F238E27FC236}">
                  <a16:creationId xmlns:a16="http://schemas.microsoft.com/office/drawing/2014/main" id="{94385E51-B4C0-45BC-8006-98B8786A4E9B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94" name="Gerader Verbinder 93">
                <a:extLst>
                  <a:ext uri="{FF2B5EF4-FFF2-40B4-BE49-F238E27FC236}">
                    <a16:creationId xmlns:a16="http://schemas.microsoft.com/office/drawing/2014/main" id="{80F02DC6-849F-4FC9-BD2A-E11A971C896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F691D9FE-321B-4757-8833-4C1486E2ACE4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.00</a:t>
                </a:r>
              </a:p>
            </p:txBody>
          </p:sp>
        </p:grpSp>
        <p:grpSp>
          <p:nvGrpSpPr>
            <p:cNvPr id="91" name="Gruppieren 90">
              <a:extLst>
                <a:ext uri="{FF2B5EF4-FFF2-40B4-BE49-F238E27FC236}">
                  <a16:creationId xmlns:a16="http://schemas.microsoft.com/office/drawing/2014/main" id="{F65E64C0-5B88-4D87-87BA-C8544561D5FA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92" name="Gerader Verbinder 91">
                <a:extLst>
                  <a:ext uri="{FF2B5EF4-FFF2-40B4-BE49-F238E27FC236}">
                    <a16:creationId xmlns:a16="http://schemas.microsoft.com/office/drawing/2014/main" id="{4E2B5B48-42C6-4A19-9830-0D8B38F312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Textfeld 92">
                <a:extLst>
                  <a:ext uri="{FF2B5EF4-FFF2-40B4-BE49-F238E27FC236}">
                    <a16:creationId xmlns:a16="http://schemas.microsoft.com/office/drawing/2014/main" id="{649F6612-E782-4C70-82BB-EF318CC77383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70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475790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extplatzhalter 12">
            <a:extLst>
              <a:ext uri="{FF2B5EF4-FFF2-40B4-BE49-F238E27FC236}">
                <a16:creationId xmlns:a16="http://schemas.microsoft.com/office/drawing/2014/main" id="{08867696-D4BB-4274-99DA-E1F7C1D1AB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670595"/>
            <a:ext cx="946655" cy="539942"/>
          </a:xfrm>
          <a:noFill/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141E8C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74" name="Textplatzhalter 12">
            <a:extLst>
              <a:ext uri="{FF2B5EF4-FFF2-40B4-BE49-F238E27FC236}">
                <a16:creationId xmlns:a16="http://schemas.microsoft.com/office/drawing/2014/main" id="{907877DD-5B1D-4AEE-ABA4-52DD96BEDB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2952545"/>
            <a:ext cx="946655" cy="539942"/>
          </a:xfrm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141E8C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75" name="Textplatzhalter 12">
            <a:extLst>
              <a:ext uri="{FF2B5EF4-FFF2-40B4-BE49-F238E27FC236}">
                <a16:creationId xmlns:a16="http://schemas.microsoft.com/office/drawing/2014/main" id="{F1FEB128-FEDB-4E1C-B935-6290A27AC5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593520"/>
            <a:ext cx="946655" cy="539942"/>
          </a:xfrm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141E8C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76" name="Textplatzhalter 12">
            <a:extLst>
              <a:ext uri="{FF2B5EF4-FFF2-40B4-BE49-F238E27FC236}">
                <a16:creationId xmlns:a16="http://schemas.microsoft.com/office/drawing/2014/main" id="{AA9AE1DF-DBF2-4FD9-94A7-2C59E1F53DC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4234495"/>
            <a:ext cx="946655" cy="539942"/>
          </a:xfrm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141E8C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5</a:t>
            </a:r>
          </a:p>
        </p:txBody>
      </p:sp>
      <p:sp>
        <p:nvSpPr>
          <p:cNvPr id="77" name="Textplatzhalter 12">
            <a:extLst>
              <a:ext uri="{FF2B5EF4-FFF2-40B4-BE49-F238E27FC236}">
                <a16:creationId xmlns:a16="http://schemas.microsoft.com/office/drawing/2014/main" id="{6BBCC3E1-662D-4F3D-B750-E4C70FFB43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875470"/>
            <a:ext cx="946655" cy="539942"/>
          </a:xfrm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141E8C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6</a:t>
            </a:r>
          </a:p>
        </p:txBody>
      </p:sp>
      <p:sp>
        <p:nvSpPr>
          <p:cNvPr id="78" name="Textplatzhalter 12">
            <a:extLst>
              <a:ext uri="{FF2B5EF4-FFF2-40B4-BE49-F238E27FC236}">
                <a16:creationId xmlns:a16="http://schemas.microsoft.com/office/drawing/2014/main" id="{341BE001-8BCF-4CFA-995D-4633F1EBEC8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5516447"/>
            <a:ext cx="946655" cy="539942"/>
          </a:xfrm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141E8C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7</a:t>
            </a:r>
          </a:p>
        </p:txBody>
      </p:sp>
      <p:sp>
        <p:nvSpPr>
          <p:cNvPr id="79" name="Textplatzhalter 12">
            <a:extLst>
              <a:ext uri="{FF2B5EF4-FFF2-40B4-BE49-F238E27FC236}">
                <a16:creationId xmlns:a16="http://schemas.microsoft.com/office/drawing/2014/main" id="{FF924AF4-29E6-4D0D-A656-F1385B9DE27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0" y="2311570"/>
            <a:ext cx="946655" cy="539942"/>
          </a:xfrm>
        </p:spPr>
        <p:txBody>
          <a:bodyPr wrap="none" lIns="518400" tIns="54000" bIns="54000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141E8C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35" name="Textplatzhalter 12">
            <a:extLst>
              <a:ext uri="{FF2B5EF4-FFF2-40B4-BE49-F238E27FC236}">
                <a16:creationId xmlns:a16="http://schemas.microsoft.com/office/drawing/2014/main" id="{F2C8B787-6095-434A-9C6C-78A5108C8B6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8319" y="163221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6" name="Textplatzhalter 12">
            <a:extLst>
              <a:ext uri="{FF2B5EF4-FFF2-40B4-BE49-F238E27FC236}">
                <a16:creationId xmlns:a16="http://schemas.microsoft.com/office/drawing/2014/main" id="{EDBC396B-1D3D-4E70-9A15-834458035ED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8319" y="6091175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7" name="Textplatzhalter 12">
            <a:extLst>
              <a:ext uri="{FF2B5EF4-FFF2-40B4-BE49-F238E27FC236}">
                <a16:creationId xmlns:a16="http://schemas.microsoft.com/office/drawing/2014/main" id="{16496151-4C59-4CA7-9171-93A5E6FD0E3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8319" y="545418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8" name="Textplatzhalter 12">
            <a:extLst>
              <a:ext uri="{FF2B5EF4-FFF2-40B4-BE49-F238E27FC236}">
                <a16:creationId xmlns:a16="http://schemas.microsoft.com/office/drawing/2014/main" id="{2E872B50-F58D-4049-829B-5D4FC3DD44B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8319" y="4817187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9" name="Textplatzhalter 12">
            <a:extLst>
              <a:ext uri="{FF2B5EF4-FFF2-40B4-BE49-F238E27FC236}">
                <a16:creationId xmlns:a16="http://schemas.microsoft.com/office/drawing/2014/main" id="{365BC96D-ED2D-464E-BC70-A23FF37E8D5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8319" y="418019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0" name="Textplatzhalter 12">
            <a:extLst>
              <a:ext uri="{FF2B5EF4-FFF2-40B4-BE49-F238E27FC236}">
                <a16:creationId xmlns:a16="http://schemas.microsoft.com/office/drawing/2014/main" id="{B065DB6D-E88A-4417-88AE-F3BDA7535DF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8319" y="3543197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1" name="Textplatzhalter 12">
            <a:extLst>
              <a:ext uri="{FF2B5EF4-FFF2-40B4-BE49-F238E27FC236}">
                <a16:creationId xmlns:a16="http://schemas.microsoft.com/office/drawing/2014/main" id="{AEB6ADF8-03FE-4219-AC3D-60860EB9B1E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8319" y="290620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2" name="Textplatzhalter 12">
            <a:extLst>
              <a:ext uri="{FF2B5EF4-FFF2-40B4-BE49-F238E27FC236}">
                <a16:creationId xmlns:a16="http://schemas.microsoft.com/office/drawing/2014/main" id="{39606005-B38E-44BD-9756-AFE8B8BBACA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8319" y="2269207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008D678-508B-4EAC-8996-9B20ADAA3B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cxnSp>
        <p:nvCxnSpPr>
          <p:cNvPr id="44" name="Gerade Verbindung 71">
            <a:extLst>
              <a:ext uri="{FF2B5EF4-FFF2-40B4-BE49-F238E27FC236}">
                <a16:creationId xmlns:a16="http://schemas.microsoft.com/office/drawing/2014/main" id="{25F92CEA-1B2A-4107-853E-0010403CE96B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0C57EE4-17A8-41AE-AD8F-0C906241B7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8695" y="1713196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</a:p>
        </p:txBody>
      </p:sp>
      <p:sp>
        <p:nvSpPr>
          <p:cNvPr id="29" name="Textplatzhalter 27">
            <a:extLst>
              <a:ext uri="{FF2B5EF4-FFF2-40B4-BE49-F238E27FC236}">
                <a16:creationId xmlns:a16="http://schemas.microsoft.com/office/drawing/2014/main" id="{EDC138DF-81E8-468E-BE50-5A359E245A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8695" y="5559048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</a:p>
        </p:txBody>
      </p:sp>
      <p:sp>
        <p:nvSpPr>
          <p:cNvPr id="30" name="Textplatzhalter 27">
            <a:extLst>
              <a:ext uri="{FF2B5EF4-FFF2-40B4-BE49-F238E27FC236}">
                <a16:creationId xmlns:a16="http://schemas.microsoft.com/office/drawing/2014/main" id="{E67A7442-A1B4-49EA-9268-A28469018A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8695" y="4918071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</a:p>
        </p:txBody>
      </p:sp>
      <p:sp>
        <p:nvSpPr>
          <p:cNvPr id="31" name="Textplatzhalter 27">
            <a:extLst>
              <a:ext uri="{FF2B5EF4-FFF2-40B4-BE49-F238E27FC236}">
                <a16:creationId xmlns:a16="http://schemas.microsoft.com/office/drawing/2014/main" id="{9B7A6C1A-6494-4115-8E54-99DC0DB45D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08695" y="4277096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</a:p>
        </p:txBody>
      </p:sp>
      <p:sp>
        <p:nvSpPr>
          <p:cNvPr id="32" name="Textplatzhalter 27">
            <a:extLst>
              <a:ext uri="{FF2B5EF4-FFF2-40B4-BE49-F238E27FC236}">
                <a16:creationId xmlns:a16="http://schemas.microsoft.com/office/drawing/2014/main" id="{9D8685BE-5979-43B0-AC0C-74054987778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08695" y="3636121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</a:p>
        </p:txBody>
      </p:sp>
      <p:sp>
        <p:nvSpPr>
          <p:cNvPr id="34" name="Textplatzhalter 27">
            <a:extLst>
              <a:ext uri="{FF2B5EF4-FFF2-40B4-BE49-F238E27FC236}">
                <a16:creationId xmlns:a16="http://schemas.microsoft.com/office/drawing/2014/main" id="{F5438DE9-D033-4100-9761-E4FFFC202F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08695" y="2354171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BB278DD4-3FCE-4782-AF12-45EC1832917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55" name="Textplatzhalter 27">
            <a:extLst>
              <a:ext uri="{FF2B5EF4-FFF2-40B4-BE49-F238E27FC236}">
                <a16:creationId xmlns:a16="http://schemas.microsoft.com/office/drawing/2014/main" id="{40334521-65D4-4254-A9E2-9118257ED99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08695" y="2995146"/>
            <a:ext cx="484284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BE5B33A-A7BA-41A0-B7C7-DAC6E90DD2F7}"/>
              </a:ext>
            </a:extLst>
          </p:cNvPr>
          <p:cNvSpPr>
            <a:spLocks noGrp="1"/>
          </p:cNvSpPr>
          <p:nvPr>
            <p:ph type="dt" sz="half" idx="41"/>
          </p:nvPr>
        </p:nvSpPr>
        <p:spPr/>
        <p:txBody>
          <a:bodyPr/>
          <a:lstStyle/>
          <a:p>
            <a:fld id="{EE24B399-C504-4BCF-8265-E5675D116EFD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600286D-DAD9-47BD-A040-82B8A71738E2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0AE30C6-34E4-46C4-8328-4D5F93748836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>
          <a:xfrm>
            <a:off x="11491717" y="6687622"/>
            <a:ext cx="184346" cy="123111"/>
          </a:xfrm>
        </p:spPr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0" name="Textplatzhalter 27">
            <a:extLst>
              <a:ext uri="{FF2B5EF4-FFF2-40B4-BE49-F238E27FC236}">
                <a16:creationId xmlns:a16="http://schemas.microsoft.com/office/drawing/2014/main" id="{58512C69-BAB1-4D42-BE3F-E7ED39890F88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969191" y="17131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</a:p>
        </p:txBody>
      </p:sp>
      <p:sp>
        <p:nvSpPr>
          <p:cNvPr id="51" name="Textplatzhalter 27">
            <a:extLst>
              <a:ext uri="{FF2B5EF4-FFF2-40B4-BE49-F238E27FC236}">
                <a16:creationId xmlns:a16="http://schemas.microsoft.com/office/drawing/2014/main" id="{DACC74A9-0A8D-447B-B0A3-A7B3E185024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509624" y="1713197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52" name="Textplatzhalter 27">
            <a:extLst>
              <a:ext uri="{FF2B5EF4-FFF2-40B4-BE49-F238E27FC236}">
                <a16:creationId xmlns:a16="http://schemas.microsoft.com/office/drawing/2014/main" id="{BC8CE078-446E-44E4-82BB-784C7A3092C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969191" y="5559049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</a:p>
        </p:txBody>
      </p:sp>
      <p:sp>
        <p:nvSpPr>
          <p:cNvPr id="53" name="Textplatzhalter 27">
            <a:extLst>
              <a:ext uri="{FF2B5EF4-FFF2-40B4-BE49-F238E27FC236}">
                <a16:creationId xmlns:a16="http://schemas.microsoft.com/office/drawing/2014/main" id="{DF171C98-FC78-493B-8685-7FC7F1C0047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509624" y="5559049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56" name="Textplatzhalter 27">
            <a:extLst>
              <a:ext uri="{FF2B5EF4-FFF2-40B4-BE49-F238E27FC236}">
                <a16:creationId xmlns:a16="http://schemas.microsoft.com/office/drawing/2014/main" id="{4902C768-3FF3-4324-ACE9-E6CC67486D9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69191" y="49180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</a:p>
        </p:txBody>
      </p:sp>
      <p:sp>
        <p:nvSpPr>
          <p:cNvPr id="57" name="Textplatzhalter 27">
            <a:extLst>
              <a:ext uri="{FF2B5EF4-FFF2-40B4-BE49-F238E27FC236}">
                <a16:creationId xmlns:a16="http://schemas.microsoft.com/office/drawing/2014/main" id="{382B9CCC-AC5B-4731-B3FF-0ED29CD5232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509624" y="4918072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58" name="Textplatzhalter 27">
            <a:extLst>
              <a:ext uri="{FF2B5EF4-FFF2-40B4-BE49-F238E27FC236}">
                <a16:creationId xmlns:a16="http://schemas.microsoft.com/office/drawing/2014/main" id="{0CD871D3-6404-4FD8-BAA7-341A607318F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969191" y="42770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</a:p>
        </p:txBody>
      </p:sp>
      <p:sp>
        <p:nvSpPr>
          <p:cNvPr id="66" name="Textplatzhalter 27">
            <a:extLst>
              <a:ext uri="{FF2B5EF4-FFF2-40B4-BE49-F238E27FC236}">
                <a16:creationId xmlns:a16="http://schemas.microsoft.com/office/drawing/2014/main" id="{EE9FAF77-111B-4232-B922-F5C2DAEC0AE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509624" y="4277097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67" name="Textplatzhalter 27">
            <a:extLst>
              <a:ext uri="{FF2B5EF4-FFF2-40B4-BE49-F238E27FC236}">
                <a16:creationId xmlns:a16="http://schemas.microsoft.com/office/drawing/2014/main" id="{DCF7C6C8-DFBE-4825-ADB4-31A94B3CB72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969191" y="363612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</a:p>
        </p:txBody>
      </p:sp>
      <p:sp>
        <p:nvSpPr>
          <p:cNvPr id="68" name="Textplatzhalter 27">
            <a:extLst>
              <a:ext uri="{FF2B5EF4-FFF2-40B4-BE49-F238E27FC236}">
                <a16:creationId xmlns:a16="http://schemas.microsoft.com/office/drawing/2014/main" id="{2F1B5A69-546B-4EB7-BE67-2CEF1A9F4DA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509624" y="3636122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69" name="Textplatzhalter 27">
            <a:extLst>
              <a:ext uri="{FF2B5EF4-FFF2-40B4-BE49-F238E27FC236}">
                <a16:creationId xmlns:a16="http://schemas.microsoft.com/office/drawing/2014/main" id="{2CA2A27B-96C0-4A80-8249-E8495A5FF8D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69191" y="299514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</a:p>
        </p:txBody>
      </p:sp>
      <p:sp>
        <p:nvSpPr>
          <p:cNvPr id="70" name="Textplatzhalter 27">
            <a:extLst>
              <a:ext uri="{FF2B5EF4-FFF2-40B4-BE49-F238E27FC236}">
                <a16:creationId xmlns:a16="http://schemas.microsoft.com/office/drawing/2014/main" id="{08CDD6D7-EDFC-4C37-99AB-4969F8D6D03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509624" y="2995147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71" name="Textplatzhalter 27">
            <a:extLst>
              <a:ext uri="{FF2B5EF4-FFF2-40B4-BE49-F238E27FC236}">
                <a16:creationId xmlns:a16="http://schemas.microsoft.com/office/drawing/2014/main" id="{FCDE6D54-5B75-4F38-8485-8FC6CF1A426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969191" y="23541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</a:p>
        </p:txBody>
      </p:sp>
      <p:sp>
        <p:nvSpPr>
          <p:cNvPr id="72" name="Textplatzhalter 27">
            <a:extLst>
              <a:ext uri="{FF2B5EF4-FFF2-40B4-BE49-F238E27FC236}">
                <a16:creationId xmlns:a16="http://schemas.microsoft.com/office/drawing/2014/main" id="{895225C6-8D81-4835-904C-A57B5DC158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509624" y="2354172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</p:spTree>
    <p:extLst>
      <p:ext uri="{BB962C8B-B14F-4D97-AF65-F5344CB8AC3E}">
        <p14:creationId xmlns:p14="http://schemas.microsoft.com/office/powerpoint/2010/main" val="329164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platzhalter 12">
            <a:extLst>
              <a:ext uri="{FF2B5EF4-FFF2-40B4-BE49-F238E27FC236}">
                <a16:creationId xmlns:a16="http://schemas.microsoft.com/office/drawing/2014/main" id="{60B1A2EF-7EA6-48D0-837F-6AA82730A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8319" y="163221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5" name="Textplatzhalter 12">
            <a:extLst>
              <a:ext uri="{FF2B5EF4-FFF2-40B4-BE49-F238E27FC236}">
                <a16:creationId xmlns:a16="http://schemas.microsoft.com/office/drawing/2014/main" id="{11D754A6-9116-418B-B54D-167359953A8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8319" y="6091175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6" name="Textplatzhalter 12">
            <a:extLst>
              <a:ext uri="{FF2B5EF4-FFF2-40B4-BE49-F238E27FC236}">
                <a16:creationId xmlns:a16="http://schemas.microsoft.com/office/drawing/2014/main" id="{2A741A2A-D48F-4186-A933-A38C7FB3FD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8319" y="545418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2" name="Textplatzhalter 12">
            <a:extLst>
              <a:ext uri="{FF2B5EF4-FFF2-40B4-BE49-F238E27FC236}">
                <a16:creationId xmlns:a16="http://schemas.microsoft.com/office/drawing/2014/main" id="{0C3A2905-336F-4115-8CFF-4EDC8CA10A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8319" y="4817187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3" name="Textplatzhalter 12">
            <a:extLst>
              <a:ext uri="{FF2B5EF4-FFF2-40B4-BE49-F238E27FC236}">
                <a16:creationId xmlns:a16="http://schemas.microsoft.com/office/drawing/2014/main" id="{D2E7C502-228D-4891-B233-D5B3639E680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8319" y="418019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6" name="Textplatzhalter 12">
            <a:extLst>
              <a:ext uri="{FF2B5EF4-FFF2-40B4-BE49-F238E27FC236}">
                <a16:creationId xmlns:a16="http://schemas.microsoft.com/office/drawing/2014/main" id="{1C5C67FD-A2AC-4A23-ADAA-700FEE60878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8319" y="3543197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8" name="Textplatzhalter 12">
            <a:extLst>
              <a:ext uri="{FF2B5EF4-FFF2-40B4-BE49-F238E27FC236}">
                <a16:creationId xmlns:a16="http://schemas.microsoft.com/office/drawing/2014/main" id="{1AFD6221-79AF-4FDB-9DC1-82609545876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8319" y="2906202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9" name="Textplatzhalter 12">
            <a:extLst>
              <a:ext uri="{FF2B5EF4-FFF2-40B4-BE49-F238E27FC236}">
                <a16:creationId xmlns:a16="http://schemas.microsoft.com/office/drawing/2014/main" id="{8F427141-71C3-435A-8417-99837EB6300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8319" y="2269207"/>
            <a:ext cx="11160000" cy="3600"/>
          </a:xfrm>
          <a:solidFill>
            <a:srgbClr val="D0D0D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0" name="Textplatzhalter 12">
            <a:extLst>
              <a:ext uri="{FF2B5EF4-FFF2-40B4-BE49-F238E27FC236}">
                <a16:creationId xmlns:a16="http://schemas.microsoft.com/office/drawing/2014/main" id="{2DD13305-EDD9-442A-B5DD-464D67D894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609040"/>
            <a:ext cx="12192000" cy="663053"/>
          </a:xfrm>
          <a:solidFill>
            <a:srgbClr val="141E8C"/>
          </a:solidFill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chemeClr val="bg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61" name="Textplatzhalter 12">
            <a:extLst>
              <a:ext uri="{FF2B5EF4-FFF2-40B4-BE49-F238E27FC236}">
                <a16:creationId xmlns:a16="http://schemas.microsoft.com/office/drawing/2014/main" id="{8C6B7371-9556-494C-BAFC-7DFF75248A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2890990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141E8C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62" name="Textplatzhalter 12">
            <a:extLst>
              <a:ext uri="{FF2B5EF4-FFF2-40B4-BE49-F238E27FC236}">
                <a16:creationId xmlns:a16="http://schemas.microsoft.com/office/drawing/2014/main" id="{C7DE99D6-5DC2-4A4C-9D8F-55BB11C9D68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531965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141E8C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63" name="Textplatzhalter 12">
            <a:extLst>
              <a:ext uri="{FF2B5EF4-FFF2-40B4-BE49-F238E27FC236}">
                <a16:creationId xmlns:a16="http://schemas.microsoft.com/office/drawing/2014/main" id="{23723DAB-6D78-4724-8772-28387EA5B4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4172940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141E8C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5</a:t>
            </a:r>
          </a:p>
        </p:txBody>
      </p:sp>
      <p:sp>
        <p:nvSpPr>
          <p:cNvPr id="64" name="Textplatzhalter 12">
            <a:extLst>
              <a:ext uri="{FF2B5EF4-FFF2-40B4-BE49-F238E27FC236}">
                <a16:creationId xmlns:a16="http://schemas.microsoft.com/office/drawing/2014/main" id="{769E9AD8-F60D-43DC-BF3A-5026662A372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813915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141E8C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6</a:t>
            </a:r>
          </a:p>
        </p:txBody>
      </p:sp>
      <p:sp>
        <p:nvSpPr>
          <p:cNvPr id="65" name="Textplatzhalter 12">
            <a:extLst>
              <a:ext uri="{FF2B5EF4-FFF2-40B4-BE49-F238E27FC236}">
                <a16:creationId xmlns:a16="http://schemas.microsoft.com/office/drawing/2014/main" id="{1081EFB9-FE18-4F3C-8672-EB70FF7EA8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5454892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141E8C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7</a:t>
            </a:r>
          </a:p>
        </p:txBody>
      </p:sp>
      <p:sp>
        <p:nvSpPr>
          <p:cNvPr id="66" name="Textplatzhalter 12">
            <a:extLst>
              <a:ext uri="{FF2B5EF4-FFF2-40B4-BE49-F238E27FC236}">
                <a16:creationId xmlns:a16="http://schemas.microsoft.com/office/drawing/2014/main" id="{E94757B5-7F5A-4E0B-840E-C22292BF9CC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0" y="2250015"/>
            <a:ext cx="12192000" cy="663053"/>
          </a:xfrm>
        </p:spPr>
        <p:txBody>
          <a:bodyPr wrap="square" lIns="518400" tIns="54000" bIns="54000" anchor="ctr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800" b="1">
                <a:solidFill>
                  <a:srgbClr val="141E8C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008D678-508B-4EAC-8996-9B20ADAA3B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Edit Master Cover Format</a:t>
            </a:r>
          </a:p>
        </p:txBody>
      </p:sp>
      <p:cxnSp>
        <p:nvCxnSpPr>
          <p:cNvPr id="44" name="Gerade Verbindung 71">
            <a:extLst>
              <a:ext uri="{FF2B5EF4-FFF2-40B4-BE49-F238E27FC236}">
                <a16:creationId xmlns:a16="http://schemas.microsoft.com/office/drawing/2014/main" id="{25F92CEA-1B2A-4107-853E-0010403CE96B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BB278DD4-3FCE-4782-AF12-45EC1832917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10C57EE4-17A8-41AE-AD8F-0C906241B7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8694" y="1713196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</a:p>
        </p:txBody>
      </p:sp>
      <p:sp>
        <p:nvSpPr>
          <p:cNvPr id="29" name="Textplatzhalter 27">
            <a:extLst>
              <a:ext uri="{FF2B5EF4-FFF2-40B4-BE49-F238E27FC236}">
                <a16:creationId xmlns:a16="http://schemas.microsoft.com/office/drawing/2014/main" id="{EDC138DF-81E8-468E-BE50-5A359E245A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8694" y="5559048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</a:p>
        </p:txBody>
      </p:sp>
      <p:sp>
        <p:nvSpPr>
          <p:cNvPr id="30" name="Textplatzhalter 27">
            <a:extLst>
              <a:ext uri="{FF2B5EF4-FFF2-40B4-BE49-F238E27FC236}">
                <a16:creationId xmlns:a16="http://schemas.microsoft.com/office/drawing/2014/main" id="{E67A7442-A1B4-49EA-9268-A28469018A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8694" y="4918071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</a:p>
        </p:txBody>
      </p:sp>
      <p:sp>
        <p:nvSpPr>
          <p:cNvPr id="31" name="Textplatzhalter 27">
            <a:extLst>
              <a:ext uri="{FF2B5EF4-FFF2-40B4-BE49-F238E27FC236}">
                <a16:creationId xmlns:a16="http://schemas.microsoft.com/office/drawing/2014/main" id="{9B7A6C1A-6494-4115-8E54-99DC0DB45D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08694" y="4277096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</a:p>
        </p:txBody>
      </p:sp>
      <p:sp>
        <p:nvSpPr>
          <p:cNvPr id="32" name="Textplatzhalter 27">
            <a:extLst>
              <a:ext uri="{FF2B5EF4-FFF2-40B4-BE49-F238E27FC236}">
                <a16:creationId xmlns:a16="http://schemas.microsoft.com/office/drawing/2014/main" id="{9D8685BE-5979-43B0-AC0C-74054987778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08694" y="3636121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</a:p>
        </p:txBody>
      </p:sp>
      <p:sp>
        <p:nvSpPr>
          <p:cNvPr id="34" name="Textplatzhalter 27">
            <a:extLst>
              <a:ext uri="{FF2B5EF4-FFF2-40B4-BE49-F238E27FC236}">
                <a16:creationId xmlns:a16="http://schemas.microsoft.com/office/drawing/2014/main" id="{F5438DE9-D033-4100-9761-E4FFFC202F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08694" y="2354171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</a:p>
        </p:txBody>
      </p:sp>
      <p:sp>
        <p:nvSpPr>
          <p:cNvPr id="55" name="Textplatzhalter 27">
            <a:extLst>
              <a:ext uri="{FF2B5EF4-FFF2-40B4-BE49-F238E27FC236}">
                <a16:creationId xmlns:a16="http://schemas.microsoft.com/office/drawing/2014/main" id="{40334521-65D4-4254-A9E2-9118257ED99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08694" y="2995146"/>
            <a:ext cx="5131769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Overwrite number and add agenda it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70E7E3D-C5E8-4192-8487-4B03A1CE2C7D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A86A96C2-6B2C-4C35-A9F7-380F5F2578D4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DCF847F-24AB-4444-A96D-7170F7D6FA4C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84C0AB1-317D-4014-8C5F-AF4B544E74C4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5" name="Textplatzhalter 27">
            <a:extLst>
              <a:ext uri="{FF2B5EF4-FFF2-40B4-BE49-F238E27FC236}">
                <a16:creationId xmlns:a16="http://schemas.microsoft.com/office/drawing/2014/main" id="{5D1F0EEC-FD48-4FB3-810E-FD14CD7BC28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969191" y="17131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</a:p>
        </p:txBody>
      </p:sp>
      <p:sp>
        <p:nvSpPr>
          <p:cNvPr id="36" name="Textplatzhalter 27">
            <a:extLst>
              <a:ext uri="{FF2B5EF4-FFF2-40B4-BE49-F238E27FC236}">
                <a16:creationId xmlns:a16="http://schemas.microsoft.com/office/drawing/2014/main" id="{918D07F7-4ACB-4BC3-B11D-0FF0B3A4B90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509624" y="1713197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37" name="Textplatzhalter 27">
            <a:extLst>
              <a:ext uri="{FF2B5EF4-FFF2-40B4-BE49-F238E27FC236}">
                <a16:creationId xmlns:a16="http://schemas.microsoft.com/office/drawing/2014/main" id="{E6D3B839-D89D-4F63-8BF4-A73794E0190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969191" y="5559049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</a:p>
        </p:txBody>
      </p:sp>
      <p:sp>
        <p:nvSpPr>
          <p:cNvPr id="38" name="Textplatzhalter 27">
            <a:extLst>
              <a:ext uri="{FF2B5EF4-FFF2-40B4-BE49-F238E27FC236}">
                <a16:creationId xmlns:a16="http://schemas.microsoft.com/office/drawing/2014/main" id="{0046F955-E9B3-41EA-A5CF-4905849F77D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509624" y="5559049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39" name="Textplatzhalter 27">
            <a:extLst>
              <a:ext uri="{FF2B5EF4-FFF2-40B4-BE49-F238E27FC236}">
                <a16:creationId xmlns:a16="http://schemas.microsoft.com/office/drawing/2014/main" id="{E56CCD57-2A45-418D-BC05-2BC530B9048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969191" y="49180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</a:p>
        </p:txBody>
      </p:sp>
      <p:sp>
        <p:nvSpPr>
          <p:cNvPr id="40" name="Textplatzhalter 27">
            <a:extLst>
              <a:ext uri="{FF2B5EF4-FFF2-40B4-BE49-F238E27FC236}">
                <a16:creationId xmlns:a16="http://schemas.microsoft.com/office/drawing/2014/main" id="{3E528590-4FE2-488F-9DC6-35CDF609E8B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0509624" y="4918072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41" name="Textplatzhalter 27">
            <a:extLst>
              <a:ext uri="{FF2B5EF4-FFF2-40B4-BE49-F238E27FC236}">
                <a16:creationId xmlns:a16="http://schemas.microsoft.com/office/drawing/2014/main" id="{24ACE534-D550-4823-937E-5E86B5B0FBB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969191" y="427709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</a:p>
        </p:txBody>
      </p:sp>
      <p:sp>
        <p:nvSpPr>
          <p:cNvPr id="42" name="Textplatzhalter 27">
            <a:extLst>
              <a:ext uri="{FF2B5EF4-FFF2-40B4-BE49-F238E27FC236}">
                <a16:creationId xmlns:a16="http://schemas.microsoft.com/office/drawing/2014/main" id="{69C3BCC9-69D3-4C3E-A8DE-517F0C7F2FA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509624" y="4277097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43" name="Textplatzhalter 27">
            <a:extLst>
              <a:ext uri="{FF2B5EF4-FFF2-40B4-BE49-F238E27FC236}">
                <a16:creationId xmlns:a16="http://schemas.microsoft.com/office/drawing/2014/main" id="{0E48227E-5F12-4125-A9F9-EA5D1302194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969191" y="363612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</a:p>
        </p:txBody>
      </p:sp>
      <p:sp>
        <p:nvSpPr>
          <p:cNvPr id="47" name="Textplatzhalter 27">
            <a:extLst>
              <a:ext uri="{FF2B5EF4-FFF2-40B4-BE49-F238E27FC236}">
                <a16:creationId xmlns:a16="http://schemas.microsoft.com/office/drawing/2014/main" id="{891587E3-988F-4B4A-B30A-FD6BB8336F5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509624" y="3636122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48" name="Textplatzhalter 27">
            <a:extLst>
              <a:ext uri="{FF2B5EF4-FFF2-40B4-BE49-F238E27FC236}">
                <a16:creationId xmlns:a16="http://schemas.microsoft.com/office/drawing/2014/main" id="{983071D8-3C1D-4F32-A4AC-97A0A35658F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969191" y="2995147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</a:p>
        </p:txBody>
      </p:sp>
      <p:sp>
        <p:nvSpPr>
          <p:cNvPr id="49" name="Textplatzhalter 27">
            <a:extLst>
              <a:ext uri="{FF2B5EF4-FFF2-40B4-BE49-F238E27FC236}">
                <a16:creationId xmlns:a16="http://schemas.microsoft.com/office/drawing/2014/main" id="{2A8B2701-9772-4251-BD49-3E07FD4C80D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0509624" y="2995147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  <p:sp>
        <p:nvSpPr>
          <p:cNvPr id="50" name="Textplatzhalter 27">
            <a:extLst>
              <a:ext uri="{FF2B5EF4-FFF2-40B4-BE49-F238E27FC236}">
                <a16:creationId xmlns:a16="http://schemas.microsoft.com/office/drawing/2014/main" id="{3F0A58D0-C03A-4E00-9478-99DDF7BCEBF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969191" y="2354172"/>
            <a:ext cx="2289234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de-DE" noProof="0"/>
              <a:t>Add Speaker</a:t>
            </a:r>
          </a:p>
        </p:txBody>
      </p:sp>
      <p:sp>
        <p:nvSpPr>
          <p:cNvPr id="51" name="Textplatzhalter 27">
            <a:extLst>
              <a:ext uri="{FF2B5EF4-FFF2-40B4-BE49-F238E27FC236}">
                <a16:creationId xmlns:a16="http://schemas.microsoft.com/office/drawing/2014/main" id="{1BDCE48B-10A1-4245-A9EB-59CC9374FB9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0509624" y="2354172"/>
            <a:ext cx="1166403" cy="454740"/>
          </a:xfrm>
        </p:spPr>
        <p:txBody>
          <a:bodyPr anchor="ctr" anchorCtr="0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ZEISS Frutiger Next W1G"/>
                <a:cs typeface="ZEISS Frutiger Next W1G Medium"/>
              </a:defRPr>
            </a:lvl1pPr>
          </a:lstStyle>
          <a:p>
            <a:pPr lvl="0"/>
            <a:r>
              <a:rPr lang="en-US" noProof="0"/>
              <a:t>XX:XX – XX:XX</a:t>
            </a:r>
          </a:p>
        </p:txBody>
      </p:sp>
    </p:spTree>
    <p:extLst>
      <p:ext uri="{BB962C8B-B14F-4D97-AF65-F5344CB8AC3E}">
        <p14:creationId xmlns:p14="http://schemas.microsoft.com/office/powerpoint/2010/main" val="1530563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|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Bildplatzhalter 86">
            <a:extLst>
              <a:ext uri="{FF2B5EF4-FFF2-40B4-BE49-F238E27FC236}">
                <a16:creationId xmlns:a16="http://schemas.microsoft.com/office/drawing/2014/main" id="{FB389B10-F29E-47A3-8BD0-A0132B3B5CE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0" y="3429000"/>
            <a:ext cx="12191985" cy="3429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US" noProof="0"/>
              <a:t> 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5D536C54-AD88-4971-B5AC-E8FD5A47527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18319" y="2681949"/>
            <a:ext cx="10086181" cy="349519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Aft>
                <a:spcPts val="0"/>
              </a:spcAft>
              <a:defRPr sz="2000">
                <a:solidFill>
                  <a:srgbClr val="141E8C"/>
                </a:solidFill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88" name="Titel 1">
            <a:extLst>
              <a:ext uri="{FF2B5EF4-FFF2-40B4-BE49-F238E27FC236}">
                <a16:creationId xmlns:a16="http://schemas.microsoft.com/office/drawing/2014/main" id="{6E836B88-8EA3-4A7F-B203-70EF11B1F6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1052513"/>
            <a:ext cx="10086181" cy="1370806"/>
          </a:xfrm>
        </p:spPr>
        <p:txBody>
          <a:bodyPr wrap="square" anchor="b" anchorCtr="0">
            <a:noAutofit/>
          </a:bodyPr>
          <a:lstStyle>
            <a:lvl1pPr>
              <a:lnSpc>
                <a:spcPts val="5000"/>
              </a:lnSpc>
              <a:defRPr sz="4500" b="0">
                <a:latin typeface="+mj-lt"/>
                <a:cs typeface="ZEISS Frutiger Next W1G Lt"/>
              </a:defRPr>
            </a:lvl1pPr>
          </a:lstStyle>
          <a:p>
            <a:r>
              <a:rPr lang="en-US" noProof="0"/>
              <a:t>Edit Master Cover Format</a:t>
            </a:r>
          </a:p>
        </p:txBody>
      </p:sp>
    </p:spTree>
    <p:extLst>
      <p:ext uri="{BB962C8B-B14F-4D97-AF65-F5344CB8AC3E}">
        <p14:creationId xmlns:p14="http://schemas.microsoft.com/office/powerpoint/2010/main" val="12257215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|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1628776"/>
            <a:ext cx="8663775" cy="1962150"/>
          </a:xfrm>
        </p:spPr>
        <p:txBody>
          <a:bodyPr anchor="b" anchorCtr="0">
            <a:noAutofit/>
          </a:bodyPr>
          <a:lstStyle>
            <a:lvl1pPr>
              <a:lnSpc>
                <a:spcPts val="5000"/>
              </a:lnSpc>
              <a:defRPr sz="4500" b="0">
                <a:latin typeface="+mj-lt"/>
                <a:cs typeface="ZEISS Frutiger Next W1G Lt"/>
              </a:defRPr>
            </a:lvl1pPr>
          </a:lstStyle>
          <a:p>
            <a:r>
              <a:rPr lang="en-US" noProof="0"/>
              <a:t>Edit Master Cover Format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5D536C54-AD88-4971-B5AC-E8FD5A47527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18319" y="3849556"/>
            <a:ext cx="8663775" cy="1296124"/>
          </a:xfrm>
        </p:spPr>
        <p:txBody>
          <a:bodyPr wrap="square">
            <a:noAutofit/>
          </a:bodyPr>
          <a:lstStyle>
            <a:lvl1pPr>
              <a:lnSpc>
                <a:spcPct val="120000"/>
              </a:lnSpc>
              <a:spcAft>
                <a:spcPts val="0"/>
              </a:spcAft>
              <a:defRPr sz="2000">
                <a:solidFill>
                  <a:srgbClr val="141E8C"/>
                </a:solidFill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F38A823-31C2-4D4E-91DC-F27B5BC868E4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64094" y="290238"/>
            <a:ext cx="518400" cy="519774"/>
          </a:xfrm>
          <a:prstGeom prst="rect">
            <a:avLst/>
          </a:prstGeom>
        </p:spPr>
      </p:pic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CDAB4CFE-07B3-4E55-9D90-97D0802B625E}"/>
              </a:ext>
            </a:extLst>
          </p:cNvPr>
          <p:cNvGrpSpPr/>
          <p:nvPr userDrawn="1"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300A9246-8173-41E6-B35E-71E183DE4E5C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62" name="Gerader Verbinder 61">
                <a:extLst>
                  <a:ext uri="{FF2B5EF4-FFF2-40B4-BE49-F238E27FC236}">
                    <a16:creationId xmlns:a16="http://schemas.microsoft.com/office/drawing/2014/main" id="{E12700E9-0E4C-4897-99DD-2830E88815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Textfeld 62">
                <a:extLst>
                  <a:ext uri="{FF2B5EF4-FFF2-40B4-BE49-F238E27FC236}">
                    <a16:creationId xmlns:a16="http://schemas.microsoft.com/office/drawing/2014/main" id="{030ADEB2-5D3B-4E5B-A61D-BF59899841EE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36D9866E-22EA-4C01-935A-3E2C494266D0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60" name="Gerader Verbinder 59">
                <a:extLst>
                  <a:ext uri="{FF2B5EF4-FFF2-40B4-BE49-F238E27FC236}">
                    <a16:creationId xmlns:a16="http://schemas.microsoft.com/office/drawing/2014/main" id="{B6FF4BEA-4EAE-4C33-A13C-07FA25366D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Textfeld 60">
                <a:extLst>
                  <a:ext uri="{FF2B5EF4-FFF2-40B4-BE49-F238E27FC236}">
                    <a16:creationId xmlns:a16="http://schemas.microsoft.com/office/drawing/2014/main" id="{DA5D9D5D-EED8-4F7D-A8F8-28A0EE09DC9D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BA6FCF1E-4401-4C92-9074-C31193286809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C4B84965-068B-48C7-9591-12635653F3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D8C6785E-EC81-4CD6-B798-6B15988F7A1B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4D95A093-246B-475B-B5C1-DFCABC1167E3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7A903E37-A5CD-4C3B-80C7-CB464BC47B1A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6C64B1E1-B242-4FB0-A5FD-EB6A5CEE0F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Textfeld 56">
                <a:extLst>
                  <a:ext uri="{FF2B5EF4-FFF2-40B4-BE49-F238E27FC236}">
                    <a16:creationId xmlns:a16="http://schemas.microsoft.com/office/drawing/2014/main" id="{811ADFC4-81F8-4735-AF8F-87B09E25133D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8680E5C6-D968-479F-8A26-E67B39E55BE2}"/>
              </a:ext>
            </a:extLst>
          </p:cNvPr>
          <p:cNvGrpSpPr/>
          <p:nvPr userDrawn="1"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45D73631-482A-4C31-94AF-E58363664F7A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E5C5EBE1-33E9-4380-A9E2-291659F4D95A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92</a:t>
                </a:r>
              </a:p>
            </p:txBody>
          </p:sp>
          <p:cxnSp>
            <p:nvCxnSpPr>
              <p:cNvPr id="83" name="Gerader Verbinder 82">
                <a:extLst>
                  <a:ext uri="{FF2B5EF4-FFF2-40B4-BE49-F238E27FC236}">
                    <a16:creationId xmlns:a16="http://schemas.microsoft.com/office/drawing/2014/main" id="{06D32C84-E0A8-4D85-B127-376F47B30D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uppieren 65">
              <a:extLst>
                <a:ext uri="{FF2B5EF4-FFF2-40B4-BE49-F238E27FC236}">
                  <a16:creationId xmlns:a16="http://schemas.microsoft.com/office/drawing/2014/main" id="{9EA6B39C-54DF-46D5-B92B-AB93FF853F2D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092B48C7-7FA6-4EDA-9619-FAF4228117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36F518D9-4E09-41B7-825B-7FD22845B38D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.40</a:t>
                </a:r>
              </a:p>
            </p:txBody>
          </p:sp>
        </p:grp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A65E0A08-EF39-4547-A13D-AA661D34D2CE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6EFA4495-871B-48F0-881F-C31ED9E4F83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B7880C48-3B57-4BA1-93AE-8CC6A203417A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00</a:t>
                </a:r>
              </a:p>
            </p:txBody>
          </p:sp>
        </p:grpSp>
        <p:grpSp>
          <p:nvGrpSpPr>
            <p:cNvPr id="68" name="Gruppieren 67">
              <a:extLst>
                <a:ext uri="{FF2B5EF4-FFF2-40B4-BE49-F238E27FC236}">
                  <a16:creationId xmlns:a16="http://schemas.microsoft.com/office/drawing/2014/main" id="{C4FFEA28-BD76-44F1-9C33-3503C78E3F14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76" name="Gerader Verbinder 75">
                <a:extLst>
                  <a:ext uri="{FF2B5EF4-FFF2-40B4-BE49-F238E27FC236}">
                    <a16:creationId xmlns:a16="http://schemas.microsoft.com/office/drawing/2014/main" id="{DCAB5C85-C009-49CB-8BB7-603D8BC25C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BE3516CE-8623-4F07-A5CA-0AA9E5623AFC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.60</a:t>
                </a:r>
              </a:p>
            </p:txBody>
          </p:sp>
        </p:grpSp>
        <p:grpSp>
          <p:nvGrpSpPr>
            <p:cNvPr id="70" name="Gruppieren 69">
              <a:extLst>
                <a:ext uri="{FF2B5EF4-FFF2-40B4-BE49-F238E27FC236}">
                  <a16:creationId xmlns:a16="http://schemas.microsoft.com/office/drawing/2014/main" id="{A39642A0-F468-4506-BF15-7321D129AE0F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74" name="Gerader Verbinder 73">
                <a:extLst>
                  <a:ext uri="{FF2B5EF4-FFF2-40B4-BE49-F238E27FC236}">
                    <a16:creationId xmlns:a16="http://schemas.microsoft.com/office/drawing/2014/main" id="{4772045E-4767-4764-A77C-DCE115C29E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B7574531-AD32-4E06-AC64-6A1F78D95AF6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.00</a:t>
                </a:r>
              </a:p>
            </p:txBody>
          </p:sp>
        </p:grpSp>
        <p:grpSp>
          <p:nvGrpSpPr>
            <p:cNvPr id="71" name="Gruppieren 70">
              <a:extLst>
                <a:ext uri="{FF2B5EF4-FFF2-40B4-BE49-F238E27FC236}">
                  <a16:creationId xmlns:a16="http://schemas.microsoft.com/office/drawing/2014/main" id="{212A55DB-8C35-4E8A-B959-BE7C769F49BA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72" name="Gerader Verbinder 71">
                <a:extLst>
                  <a:ext uri="{FF2B5EF4-FFF2-40B4-BE49-F238E27FC236}">
                    <a16:creationId xmlns:a16="http://schemas.microsoft.com/office/drawing/2014/main" id="{2E63BDCB-6A9F-426F-B4CD-DC50B15EAF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3" name="Textfeld 72">
                <a:extLst>
                  <a:ext uri="{FF2B5EF4-FFF2-40B4-BE49-F238E27FC236}">
                    <a16:creationId xmlns:a16="http://schemas.microsoft.com/office/drawing/2014/main" id="{22A03284-1DBA-4AA8-816F-09D2A52A3815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70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386730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CDF64D8-43C9-4659-8FEB-D25E62DE231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21D1B0B-1BA8-4136-AF7B-59A487C42E1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18319" y="1631837"/>
            <a:ext cx="11160000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10" name="Gerade Verbindung 71">
            <a:extLst>
              <a:ext uri="{FF2B5EF4-FFF2-40B4-BE49-F238E27FC236}">
                <a16:creationId xmlns:a16="http://schemas.microsoft.com/office/drawing/2014/main" id="{06BCC614-210D-45D8-85A7-4DB4D413AA8E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59A91B9-C866-4D14-BE8D-ECE3629E055C}"/>
              </a:ext>
            </a:extLst>
          </p:cNvPr>
          <p:cNvSpPr>
            <a:spLocks noGrp="1"/>
          </p:cNvSpPr>
          <p:nvPr>
            <p:ph type="dt" sz="half" idx="64"/>
          </p:nvPr>
        </p:nvSpPr>
        <p:spPr/>
        <p:txBody>
          <a:bodyPr/>
          <a:lstStyle/>
          <a:p>
            <a:fld id="{849454A0-EBCC-4CD8-85B9-290E4583EC11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9BCA08E-EC06-4059-B57E-AEBF48C0753B}"/>
              </a:ext>
            </a:extLst>
          </p:cNvPr>
          <p:cNvSpPr>
            <a:spLocks noGrp="1"/>
          </p:cNvSpPr>
          <p:nvPr>
            <p:ph type="ftr" sz="quarter" idx="65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E2FBEAC-E12A-4FD2-82BC-22D265835091}"/>
              </a:ext>
            </a:extLst>
          </p:cNvPr>
          <p:cNvSpPr>
            <a:spLocks noGrp="1"/>
          </p:cNvSpPr>
          <p:nvPr>
            <p:ph type="sldNum" sz="quarter" idx="66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95020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s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40C2D3-DBDA-4D6C-BBD7-C8CCD961E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noProof="0"/>
              <a:t>Edit Master Cover Format</a:t>
            </a:r>
          </a:p>
        </p:txBody>
      </p:sp>
      <p:cxnSp>
        <p:nvCxnSpPr>
          <p:cNvPr id="13" name="Gerade Verbindung 71">
            <a:extLst>
              <a:ext uri="{FF2B5EF4-FFF2-40B4-BE49-F238E27FC236}">
                <a16:creationId xmlns:a16="http://schemas.microsoft.com/office/drawing/2014/main" id="{38C429B3-4EC8-4416-A4E5-3B8711559014}"/>
              </a:ext>
            </a:extLst>
          </p:cNvPr>
          <p:cNvCxnSpPr>
            <a:cxnSpLocks/>
          </p:cNvCxnSpPr>
          <p:nvPr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162F79FD-685F-4AD0-AD07-F82DCA60004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8319" y="642855"/>
            <a:ext cx="9740106" cy="369332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latin typeface="ZEISS Frutiger Next W1G"/>
                <a:cs typeface="ZEISS Frutiger Next W1G Lt"/>
              </a:defRPr>
            </a:lvl1pPr>
          </a:lstStyle>
          <a:p>
            <a:pPr lvl="0"/>
            <a:r>
              <a:rPr lang="en-US" noProof="0"/>
              <a:t>Edit master text format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12A02888-F9A5-43B4-9619-58072584F51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18319" y="1631837"/>
            <a:ext cx="5433219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D03185D6-5C86-4FFC-9297-944DDAF3BE36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242844" y="1631837"/>
            <a:ext cx="5433219" cy="4464000"/>
          </a:xfrm>
        </p:spPr>
        <p:txBody>
          <a:bodyPr rIns="540000"/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14" name="Gerade Verbindung 71">
            <a:extLst>
              <a:ext uri="{FF2B5EF4-FFF2-40B4-BE49-F238E27FC236}">
                <a16:creationId xmlns:a16="http://schemas.microsoft.com/office/drawing/2014/main" id="{3E45FDC8-FB31-4EFC-A85C-0EDC909275BC}"/>
              </a:ext>
            </a:extLst>
          </p:cNvPr>
          <p:cNvCxnSpPr>
            <a:cxnSpLocks/>
          </p:cNvCxnSpPr>
          <p:nvPr userDrawn="1"/>
        </p:nvCxnSpPr>
        <p:spPr>
          <a:xfrm>
            <a:off x="0" y="1052906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E6EBE84-2FE1-4C8A-9B0A-2A02FC98AA96}"/>
              </a:ext>
            </a:extLst>
          </p:cNvPr>
          <p:cNvSpPr>
            <a:spLocks noGrp="1"/>
          </p:cNvSpPr>
          <p:nvPr>
            <p:ph type="dt" sz="half" idx="66"/>
          </p:nvPr>
        </p:nvSpPr>
        <p:spPr/>
        <p:txBody>
          <a:bodyPr/>
          <a:lstStyle/>
          <a:p>
            <a:fld id="{4BF4D44E-72A9-4B22-84FA-1066D77100C2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4FDAE19-A17E-45B7-B64A-89511644E918}"/>
              </a:ext>
            </a:extLst>
          </p:cNvPr>
          <p:cNvSpPr>
            <a:spLocks noGrp="1"/>
          </p:cNvSpPr>
          <p:nvPr>
            <p:ph type="ftr" sz="quarter" idx="67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6ABDFF1-A98D-4590-8B67-160900C002CB}"/>
              </a:ext>
            </a:extLst>
          </p:cNvPr>
          <p:cNvSpPr>
            <a:spLocks noGrp="1"/>
          </p:cNvSpPr>
          <p:nvPr>
            <p:ph type="sldNum" sz="quarter" idx="68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07517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5DF379B-2F7B-4B88-BC16-FA39CEB2C3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Edit Master Cover 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FF28EB-5BBB-48FC-BE84-2AF18E9A2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5"/>
            <a:ext cx="11160000" cy="44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Edit master text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9AF8200-DF6F-4A4E-B92D-A281BB9406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41682" y="6687622"/>
            <a:ext cx="777457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  <a:cs typeface="ZEISS Frutiger Next W1G Lt"/>
              </a:defRPr>
            </a:lvl1pPr>
          </a:lstStyle>
          <a:p>
            <a:fld id="{B979DD83-AEE0-4FA5-8171-5BF868B81636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62C304D-CE9F-43FC-BAA7-AE9B393990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87622"/>
            <a:ext cx="389234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 b="0">
                <a:solidFill>
                  <a:schemeClr val="tx1"/>
                </a:solidFill>
                <a:latin typeface="+mn-lt"/>
                <a:cs typeface="ZEISS Frutiger Next W1G Medium"/>
              </a:defRPr>
            </a:lvl1pPr>
          </a:lstStyle>
          <a:p>
            <a:r>
              <a:rPr lang="en-US" noProof="0"/>
              <a:t>ZEIS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2475B2-8926-4797-977A-DAFF5A6E3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1717" y="6687622"/>
            <a:ext cx="184346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ZEISS Frutiger Next W1G Lt"/>
              </a:defRPr>
            </a:lvl1pPr>
          </a:lstStyle>
          <a:p>
            <a:fld id="{C6A4AD45-2621-4550-9DC5-4911F1B5FA4D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1058C19-865B-4BD3-AD72-7FD15950D47F}"/>
              </a:ext>
            </a:extLst>
          </p:cNvPr>
          <p:cNvPicPr>
            <a:picLocks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1164094" y="290238"/>
            <a:ext cx="518400" cy="519774"/>
          </a:xfrm>
          <a:prstGeom prst="rect">
            <a:avLst/>
          </a:prstGeom>
        </p:spPr>
      </p:pic>
      <p:cxnSp>
        <p:nvCxnSpPr>
          <p:cNvPr id="55" name="Gerade Verbindung 68">
            <a:extLst>
              <a:ext uri="{FF2B5EF4-FFF2-40B4-BE49-F238E27FC236}">
                <a16:creationId xmlns:a16="http://schemas.microsoft.com/office/drawing/2014/main" id="{4DEBE7C2-DE8D-4DCC-AFDE-C6BA57C891B0}"/>
              </a:ext>
            </a:extLst>
          </p:cNvPr>
          <p:cNvCxnSpPr>
            <a:cxnSpLocks/>
          </p:cNvCxnSpPr>
          <p:nvPr userDrawn="1"/>
        </p:nvCxnSpPr>
        <p:spPr>
          <a:xfrm>
            <a:off x="0" y="6639473"/>
            <a:ext cx="12192000" cy="0"/>
          </a:xfrm>
          <a:prstGeom prst="line">
            <a:avLst/>
          </a:prstGeom>
          <a:ln w="6350">
            <a:solidFill>
              <a:srgbClr val="D6D6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56C48ABB-BA50-4097-908E-FFB7EAD39F4B}"/>
              </a:ext>
            </a:extLst>
          </p:cNvPr>
          <p:cNvGrpSpPr/>
          <p:nvPr userDrawn="1"/>
        </p:nvGrpSpPr>
        <p:grpSpPr>
          <a:xfrm>
            <a:off x="304116" y="-697714"/>
            <a:ext cx="11370764" cy="411957"/>
            <a:chOff x="304116" y="6944502"/>
            <a:chExt cx="11370764" cy="411957"/>
          </a:xfrm>
        </p:grpSpPr>
        <p:grpSp>
          <p:nvGrpSpPr>
            <p:cNvPr id="44" name="Gruppieren 43">
              <a:extLst>
                <a:ext uri="{FF2B5EF4-FFF2-40B4-BE49-F238E27FC236}">
                  <a16:creationId xmlns:a16="http://schemas.microsoft.com/office/drawing/2014/main" id="{EFF5078C-FBC7-4E8E-A598-D1BB0815DC62}"/>
                </a:ext>
              </a:extLst>
            </p:cNvPr>
            <p:cNvGrpSpPr/>
            <p:nvPr/>
          </p:nvGrpSpPr>
          <p:grpSpPr>
            <a:xfrm rot="16200000">
              <a:off x="2040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98C79FAB-AF18-4382-B91F-09656AE893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70142E60-8658-4FEF-9907-69CF841786A3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D7869B50-48E3-401F-B78F-FD1148A050CE}"/>
                </a:ext>
              </a:extLst>
            </p:cNvPr>
            <p:cNvGrpSpPr/>
            <p:nvPr/>
          </p:nvGrpSpPr>
          <p:grpSpPr>
            <a:xfrm rot="16200000">
              <a:off x="5639649" y="7044570"/>
              <a:ext cx="411956" cy="211821"/>
              <a:chOff x="-615197" y="4299854"/>
              <a:chExt cx="411956" cy="211821"/>
            </a:xfrm>
          </p:grpSpPr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FB1EF0FA-D34A-4175-B65D-B7D6CC9719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Textfeld 57">
                <a:extLst>
                  <a:ext uri="{FF2B5EF4-FFF2-40B4-BE49-F238E27FC236}">
                    <a16:creationId xmlns:a16="http://schemas.microsoft.com/office/drawing/2014/main" id="{2F56FBC7-9F7F-4AB4-8693-7CC09BA3D280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19703CF7-5E39-4192-B4A3-B38559E0FCBB}"/>
                </a:ext>
              </a:extLst>
            </p:cNvPr>
            <p:cNvGrpSpPr/>
            <p:nvPr/>
          </p:nvGrpSpPr>
          <p:grpSpPr>
            <a:xfrm rot="5400000">
              <a:off x="6093326" y="7046990"/>
              <a:ext cx="411956" cy="206980"/>
              <a:chOff x="-615197" y="4350961"/>
              <a:chExt cx="411956" cy="206980"/>
            </a:xfrm>
          </p:grpSpPr>
          <p:cxnSp>
            <p:nvCxnSpPr>
              <p:cNvPr id="53" name="Gerader Verbinder 52">
                <a:extLst>
                  <a:ext uri="{FF2B5EF4-FFF2-40B4-BE49-F238E27FC236}">
                    <a16:creationId xmlns:a16="http://schemas.microsoft.com/office/drawing/2014/main" id="{A8A4A3CB-D5F7-4A19-B224-2A426F6AA1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Textfeld 53">
                <a:extLst>
                  <a:ext uri="{FF2B5EF4-FFF2-40B4-BE49-F238E27FC236}">
                    <a16:creationId xmlns:a16="http://schemas.microsoft.com/office/drawing/2014/main" id="{6CC430D5-BB00-4533-B856-9B221C831F80}"/>
                  </a:ext>
                </a:extLst>
              </p:cNvPr>
              <p:cNvSpPr txBox="1"/>
              <p:nvPr/>
            </p:nvSpPr>
            <p:spPr>
              <a:xfrm rot="10800000">
                <a:off x="-615197" y="435096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40</a:t>
                </a:r>
              </a:p>
            </p:txBody>
          </p:sp>
        </p:grp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B3ED1DB-EA3B-481C-AE7B-B4C922752B6B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90022" y="7150480"/>
              <a:ext cx="411956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1110E2D8-35E2-4911-90BB-0A1E1F09A868}"/>
                </a:ext>
              </a:extLst>
            </p:cNvPr>
            <p:cNvGrpSpPr/>
            <p:nvPr/>
          </p:nvGrpSpPr>
          <p:grpSpPr>
            <a:xfrm rot="16200000">
              <a:off x="11362992" y="7044570"/>
              <a:ext cx="411956" cy="211821"/>
              <a:chOff x="-615197" y="4299854"/>
              <a:chExt cx="411956" cy="211821"/>
            </a:xfrm>
          </p:grpSpPr>
          <p:cxnSp>
            <p:nvCxnSpPr>
              <p:cNvPr id="51" name="Gerader Verbinder 50">
                <a:extLst>
                  <a:ext uri="{FF2B5EF4-FFF2-40B4-BE49-F238E27FC236}">
                    <a16:creationId xmlns:a16="http://schemas.microsoft.com/office/drawing/2014/main" id="{DED3DF7D-712B-495D-89D3-D93B7909A8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Textfeld 51">
                <a:extLst>
                  <a:ext uri="{FF2B5EF4-FFF2-40B4-BE49-F238E27FC236}">
                    <a16:creationId xmlns:a16="http://schemas.microsoft.com/office/drawing/2014/main" id="{90B2A73D-A4A8-494D-80B5-C7EF22F4B6E3}"/>
                  </a:ext>
                </a:extLst>
              </p:cNvPr>
              <p:cNvSpPr txBox="1"/>
              <p:nvPr/>
            </p:nvSpPr>
            <p:spPr>
              <a:xfrm>
                <a:off x="-615197" y="429985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15.50</a:t>
                </a:r>
              </a:p>
            </p:txBody>
          </p:sp>
        </p:grpSp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45CCA136-3A71-44B3-80EC-6266A492E5C1}"/>
              </a:ext>
            </a:extLst>
          </p:cNvPr>
          <p:cNvGrpSpPr/>
          <p:nvPr userDrawn="1"/>
        </p:nvGrpSpPr>
        <p:grpSpPr>
          <a:xfrm>
            <a:off x="-697714" y="80201"/>
            <a:ext cx="411956" cy="6720119"/>
            <a:chOff x="-502267" y="80201"/>
            <a:chExt cx="411956" cy="6720119"/>
          </a:xfrm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12E8AFB-85D2-45A9-B3EF-D12EC6390E09}"/>
                </a:ext>
              </a:extLst>
            </p:cNvPr>
            <p:cNvGrpSpPr/>
            <p:nvPr/>
          </p:nvGrpSpPr>
          <p:grpSpPr>
            <a:xfrm>
              <a:off x="-502267" y="6593340"/>
              <a:ext cx="411956" cy="206980"/>
              <a:chOff x="-615197" y="4452994"/>
              <a:chExt cx="411956" cy="206980"/>
            </a:xfrm>
          </p:grpSpPr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F8C212DB-196A-4D74-82BE-00609BD65965}"/>
                  </a:ext>
                </a:extLst>
              </p:cNvPr>
              <p:cNvSpPr txBox="1"/>
              <p:nvPr/>
            </p:nvSpPr>
            <p:spPr>
              <a:xfrm>
                <a:off x="-615197" y="4452994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92</a:t>
                </a:r>
              </a:p>
            </p:txBody>
          </p:sp>
          <p:cxnSp>
            <p:nvCxnSpPr>
              <p:cNvPr id="81" name="Gerader Verbinder 80">
                <a:extLst>
                  <a:ext uri="{FF2B5EF4-FFF2-40B4-BE49-F238E27FC236}">
                    <a16:creationId xmlns:a16="http://schemas.microsoft.com/office/drawing/2014/main" id="{56A7317A-75CD-430C-B602-E93C165B71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97389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1EF0A019-963A-4270-931F-DFDE8CEEF2AE}"/>
                </a:ext>
              </a:extLst>
            </p:cNvPr>
            <p:cNvGrpSpPr/>
            <p:nvPr/>
          </p:nvGrpSpPr>
          <p:grpSpPr>
            <a:xfrm>
              <a:off x="-502267" y="5876163"/>
              <a:ext cx="411956" cy="216662"/>
              <a:chOff x="-615197" y="4295013"/>
              <a:chExt cx="411956" cy="216662"/>
            </a:xfrm>
          </p:grpSpPr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7B734A5E-AEC5-486D-81BA-93B0283538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AAA044E2-7B08-4EB5-B56C-B9E2404811F6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7.40</a:t>
                </a:r>
              </a:p>
            </p:txBody>
          </p:sp>
        </p:grp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5A6DDF7B-3C45-4586-B715-867DB00EAA25}"/>
                </a:ext>
              </a:extLst>
            </p:cNvPr>
            <p:cNvGrpSpPr/>
            <p:nvPr/>
          </p:nvGrpSpPr>
          <p:grpSpPr>
            <a:xfrm>
              <a:off x="-502267" y="3212338"/>
              <a:ext cx="411956" cy="216662"/>
              <a:chOff x="-615197" y="4295013"/>
              <a:chExt cx="411956" cy="216662"/>
            </a:xfrm>
          </p:grpSpPr>
          <p:cxnSp>
            <p:nvCxnSpPr>
              <p:cNvPr id="76" name="Gerader Verbinder 75">
                <a:extLst>
                  <a:ext uri="{FF2B5EF4-FFF2-40B4-BE49-F238E27FC236}">
                    <a16:creationId xmlns:a16="http://schemas.microsoft.com/office/drawing/2014/main" id="{B09F6C2A-72FF-473A-9FC4-2BBCDFFEE8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41E70ED3-B280-4B12-98B1-0E624CDA8555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0.00</a:t>
                </a:r>
              </a:p>
            </p:txBody>
          </p:sp>
        </p:grp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13519177-A9A5-4C28-B905-56690F6370BE}"/>
                </a:ext>
              </a:extLst>
            </p:cNvPr>
            <p:cNvGrpSpPr/>
            <p:nvPr/>
          </p:nvGrpSpPr>
          <p:grpSpPr>
            <a:xfrm>
              <a:off x="-502267" y="835851"/>
              <a:ext cx="411956" cy="216662"/>
              <a:chOff x="-615197" y="4295013"/>
              <a:chExt cx="411956" cy="216662"/>
            </a:xfrm>
          </p:grpSpPr>
          <p:cxnSp>
            <p:nvCxnSpPr>
              <p:cNvPr id="74" name="Gerader Verbinder 73">
                <a:extLst>
                  <a:ext uri="{FF2B5EF4-FFF2-40B4-BE49-F238E27FC236}">
                    <a16:creationId xmlns:a16="http://schemas.microsoft.com/office/drawing/2014/main" id="{814F7099-99D4-4BC1-B424-1D0D371D6C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C198A76C-0F63-449D-B3B9-3E5DBC7CC0D0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6.60</a:t>
                </a:r>
              </a:p>
            </p:txBody>
          </p:sp>
        </p:grpSp>
        <p:grpSp>
          <p:nvGrpSpPr>
            <p:cNvPr id="68" name="Gruppieren 67">
              <a:extLst>
                <a:ext uri="{FF2B5EF4-FFF2-40B4-BE49-F238E27FC236}">
                  <a16:creationId xmlns:a16="http://schemas.microsoft.com/office/drawing/2014/main" id="{F01EC9B1-E3C1-4394-9DF2-821DB41FB019}"/>
                </a:ext>
              </a:extLst>
            </p:cNvPr>
            <p:cNvGrpSpPr/>
            <p:nvPr/>
          </p:nvGrpSpPr>
          <p:grpSpPr>
            <a:xfrm>
              <a:off x="-502267" y="1412113"/>
              <a:ext cx="411956" cy="216662"/>
              <a:chOff x="-615197" y="4295013"/>
              <a:chExt cx="411956" cy="216662"/>
            </a:xfrm>
          </p:grpSpPr>
          <p:cxnSp>
            <p:nvCxnSpPr>
              <p:cNvPr id="72" name="Gerader Verbinder 71">
                <a:extLst>
                  <a:ext uri="{FF2B5EF4-FFF2-40B4-BE49-F238E27FC236}">
                    <a16:creationId xmlns:a16="http://schemas.microsoft.com/office/drawing/2014/main" id="{DD8A3ACB-B94A-419D-92FB-05941A6F93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511675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3" name="Textfeld 72">
                <a:extLst>
                  <a:ext uri="{FF2B5EF4-FFF2-40B4-BE49-F238E27FC236}">
                    <a16:creationId xmlns:a16="http://schemas.microsoft.com/office/drawing/2014/main" id="{48E6EB08-7072-482E-8A57-E289E1E941F2}"/>
                  </a:ext>
                </a:extLst>
              </p:cNvPr>
              <p:cNvSpPr txBox="1"/>
              <p:nvPr/>
            </p:nvSpPr>
            <p:spPr>
              <a:xfrm>
                <a:off x="-615197" y="4295013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5.00</a:t>
                </a:r>
              </a:p>
            </p:txBody>
          </p:sp>
        </p:grpSp>
        <p:grpSp>
          <p:nvGrpSpPr>
            <p:cNvPr id="69" name="Gruppieren 68">
              <a:extLst>
                <a:ext uri="{FF2B5EF4-FFF2-40B4-BE49-F238E27FC236}">
                  <a16:creationId xmlns:a16="http://schemas.microsoft.com/office/drawing/2014/main" id="{1319C301-946F-4672-BC0B-92B5F76B85BD}"/>
                </a:ext>
              </a:extLst>
            </p:cNvPr>
            <p:cNvGrpSpPr/>
            <p:nvPr/>
          </p:nvGrpSpPr>
          <p:grpSpPr>
            <a:xfrm>
              <a:off x="-502267" y="80201"/>
              <a:ext cx="411956" cy="216662"/>
              <a:chOff x="-615197" y="4258501"/>
              <a:chExt cx="411956" cy="216662"/>
            </a:xfrm>
          </p:grpSpPr>
          <p:cxnSp>
            <p:nvCxnSpPr>
              <p:cNvPr id="70" name="Gerader Verbinder 69">
                <a:extLst>
                  <a:ext uri="{FF2B5EF4-FFF2-40B4-BE49-F238E27FC236}">
                    <a16:creationId xmlns:a16="http://schemas.microsoft.com/office/drawing/2014/main" id="{64B9A576-386D-473E-A71E-7373935B2A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15197" y="4475163"/>
                <a:ext cx="411956" cy="0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1" name="Textfeld 70">
                <a:extLst>
                  <a:ext uri="{FF2B5EF4-FFF2-40B4-BE49-F238E27FC236}">
                    <a16:creationId xmlns:a16="http://schemas.microsoft.com/office/drawing/2014/main" id="{9A7A7A9C-6B40-4302-901E-CC3F25A6D990}"/>
                  </a:ext>
                </a:extLst>
              </p:cNvPr>
              <p:cNvSpPr txBox="1"/>
              <p:nvPr/>
            </p:nvSpPr>
            <p:spPr>
              <a:xfrm>
                <a:off x="-615197" y="4258501"/>
                <a:ext cx="411956" cy="20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ts val="18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ZEISS Frutiger Next W1G Lt" panose="020B0302030202020203" pitchFamily="34" charset="0"/>
                    <a:ea typeface="+mn-ea"/>
                    <a:cs typeface="ZEISS Frutiger Next W1G Lt" panose="020B0302030202020203" pitchFamily="34" charset="0"/>
                  </a:rPr>
                  <a:t>08.70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46167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703" r:id="rId4"/>
    <p:sldLayoutId id="2147483706" r:id="rId5"/>
    <p:sldLayoutId id="2147483702" r:id="rId6"/>
    <p:sldLayoutId id="2147483685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2160" userDrawn="1">
          <p15:clr>
            <a:srgbClr val="A4A3A4"/>
          </p15:clr>
        </p15:guide>
        <p15:guide id="14" pos="3840" userDrawn="1">
          <p15:clr>
            <a:srgbClr val="A4A3A4"/>
          </p15:clr>
        </p15:guide>
        <p15:guide id="15" pos="325" userDrawn="1">
          <p15:clr>
            <a:srgbClr val="A4A3A4"/>
          </p15:clr>
        </p15:guide>
        <p15:guide id="16" pos="7355" userDrawn="1">
          <p15:clr>
            <a:srgbClr val="A4A3A4"/>
          </p15:clr>
        </p15:guide>
        <p15:guide id="17" pos="3931" userDrawn="1">
          <p15:clr>
            <a:srgbClr val="A4A3A4"/>
          </p15:clr>
        </p15:guide>
        <p15:guide id="18" pos="3749" userDrawn="1">
          <p15:clr>
            <a:srgbClr val="A4A3A4"/>
          </p15:clr>
        </p15:guide>
        <p15:guide id="19" orient="horz" pos="187" userDrawn="1">
          <p15:clr>
            <a:srgbClr val="A4A3A4"/>
          </p15:clr>
        </p15:guide>
        <p15:guide id="20" orient="horz" pos="663" userDrawn="1">
          <p15:clr>
            <a:srgbClr val="A4A3A4"/>
          </p15:clr>
        </p15:guide>
        <p15:guide id="21" orient="horz" pos="1026" userDrawn="1">
          <p15:clr>
            <a:srgbClr val="A4A3A4"/>
          </p15:clr>
        </p15:guide>
        <p15:guide id="23" orient="horz" pos="4184" userDrawn="1">
          <p15:clr>
            <a:srgbClr val="A4A3A4"/>
          </p15:clr>
        </p15:guide>
        <p15:guide id="24" orient="horz" pos="383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2757586-F489-4318-A42A-714F58193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128" y="2217076"/>
            <a:ext cx="11157744" cy="677108"/>
          </a:xfrm>
          <a:solidFill>
            <a:schemeClr val="bg2"/>
          </a:solidFill>
        </p:spPr>
        <p:txBody>
          <a:bodyPr/>
          <a:lstStyle/>
          <a:p>
            <a:r>
              <a:rPr lang="en-US" altLang="zh-TW" sz="4400" dirty="0" err="1"/>
              <a:t>LogAnalyzer</a:t>
            </a:r>
            <a:r>
              <a:rPr lang="en-US" altLang="zh-TW" sz="4400" dirty="0"/>
              <a:t> Tool</a:t>
            </a:r>
            <a:endParaRPr lang="en-US" sz="440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5CBBA7-790F-4194-9E25-802ECE7603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09725" y="4965080"/>
            <a:ext cx="3228592" cy="184666"/>
          </a:xfrm>
        </p:spPr>
        <p:txBody>
          <a:bodyPr/>
          <a:lstStyle/>
          <a:p>
            <a:r>
              <a:rPr lang="en-US"/>
              <a:t>Target group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DF15EDF-351D-46FB-B6F8-556BFDEC6A8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609725" y="5141291"/>
            <a:ext cx="3228592" cy="697105"/>
          </a:xfrm>
        </p:spPr>
        <p:txBody>
          <a:bodyPr/>
          <a:lstStyle/>
          <a:p>
            <a:r>
              <a:rPr lang="en-US"/>
              <a:t>Ai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54B91A2-B024-4E6B-A351-CB95252F78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96107" y="4965080"/>
            <a:ext cx="4319999" cy="184666"/>
          </a:xfrm>
        </p:spPr>
        <p:txBody>
          <a:bodyPr/>
          <a:lstStyle/>
          <a:p>
            <a:r>
              <a:rPr lang="en-US"/>
              <a:t>Author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C66D08-42B8-49B8-8D27-42043B6F81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96107" y="5141292"/>
            <a:ext cx="4319999" cy="184666"/>
          </a:xfrm>
        </p:spPr>
        <p:txBody>
          <a:bodyPr/>
          <a:lstStyle/>
          <a:p>
            <a:r>
              <a:rPr lang="en-US"/>
              <a:t>Department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AFCD127F-487B-445B-98E4-FF7C3A68BD4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8319" y="2872085"/>
            <a:ext cx="11157744" cy="738664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0AB85EA4-4BE4-407D-B733-A478CCEE11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5096107" y="5651841"/>
            <a:ext cx="1437894" cy="184666"/>
          </a:xfrm>
        </p:spPr>
        <p:txBody>
          <a:bodyPr/>
          <a:lstStyle/>
          <a:p>
            <a:pPr>
              <a:spcAft>
                <a:spcPts val="800"/>
              </a:spcAft>
              <a:buFont typeface="Arial" panose="020B0604020202020204" pitchFamily="34" charset="0"/>
              <a:buNone/>
            </a:pPr>
            <a:fld id="{35024245-19DA-4928-B41F-420DC9233845}" type="datetime3">
              <a:rPr lang="en-US" smtClean="0"/>
              <a:t>21 March 2025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537469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513ED7-CB73-C11F-7E1B-818002CB39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圖片 8">
            <a:extLst>
              <a:ext uri="{FF2B5EF4-FFF2-40B4-BE49-F238E27FC236}">
                <a16:creationId xmlns:a16="http://schemas.microsoft.com/office/drawing/2014/main" id="{3CA77D03-FADB-2376-B5E5-0FAAC0204F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6702" y="1083005"/>
            <a:ext cx="6951933" cy="5563860"/>
          </a:xfrm>
          <a:prstGeom prst="rect">
            <a:avLst/>
          </a:prstGeom>
        </p:spPr>
      </p:pic>
      <p:sp>
        <p:nvSpPr>
          <p:cNvPr id="2" name="標題 1">
            <a:extLst>
              <a:ext uri="{FF2B5EF4-FFF2-40B4-BE49-F238E27FC236}">
                <a16:creationId xmlns:a16="http://schemas.microsoft.com/office/drawing/2014/main" id="{FBA60590-E7AD-512C-2361-38688DA5C2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de-DE" altLang="zh-TW" dirty="0" err="1"/>
              <a:t>Install</a:t>
            </a:r>
            <a:r>
              <a:rPr lang="de-DE" altLang="zh-TW" dirty="0"/>
              <a:t> Log</a:t>
            </a:r>
            <a:endParaRPr lang="zh-TW" altLang="en-US" dirty="0"/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BD7DA4D5-A009-5BB3-5487-BBC4F1EBA3C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altLang="zh-TW" dirty="0"/>
              <a:t>Function introduction</a:t>
            </a:r>
            <a:endParaRPr lang="zh-TW" altLang="en-US" dirty="0"/>
          </a:p>
          <a:p>
            <a:endParaRPr lang="zh-TW" altLang="en-US" dirty="0"/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ED31E5B5-2D01-2DAB-4AC6-5FF1FACD36DF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79782A6B-4475-7A06-C63A-388597340AA4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AC29E3BF-73A8-C996-C875-FD2863EFBD1E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6EDA953B-4CE2-1156-490C-A2FE62921188}"/>
              </a:ext>
            </a:extLst>
          </p:cNvPr>
          <p:cNvSpPr txBox="1"/>
          <p:nvPr/>
        </p:nvSpPr>
        <p:spPr>
          <a:xfrm>
            <a:off x="8720569" y="1444453"/>
            <a:ext cx="3136397" cy="9951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800"/>
              </a:spcAft>
            </a:pPr>
            <a:r>
              <a:rPr lang="de-DE" altLang="zh-TW" sz="1600" b="1" i="1" u="sng" dirty="0" err="1">
                <a:solidFill>
                  <a:srgbClr val="000000"/>
                </a:solidFill>
                <a:latin typeface="ZEISS Frutiger Next W1G"/>
              </a:rPr>
              <a:t>Install</a:t>
            </a:r>
            <a:r>
              <a:rPr lang="de-DE" altLang="zh-TW" sz="1600" b="1" i="1" u="sng" dirty="0">
                <a:solidFill>
                  <a:srgbClr val="000000"/>
                </a:solidFill>
                <a:latin typeface="ZEISS Frutiger Next W1G"/>
              </a:rPr>
              <a:t> Log</a:t>
            </a:r>
            <a:r>
              <a:rPr lang="en-US" altLang="zh-TW" sz="1600" b="1" i="1" u="sng" dirty="0">
                <a:solidFill>
                  <a:srgbClr val="000000"/>
                </a:solidFill>
                <a:latin typeface="ZEISS Frutiger Next W1G"/>
              </a:rPr>
              <a:t> </a:t>
            </a:r>
            <a:r>
              <a:rPr kumimoji="0" lang="en-US" altLang="zh-TW" sz="16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Tab</a:t>
            </a:r>
            <a:r>
              <a:rPr kumimoji="0" lang="en-US" altLang="zh-TW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altLang="zh-TW" sz="1400" dirty="0"/>
              <a:t>Information </a:t>
            </a:r>
            <a:r>
              <a:rPr lang="de-DE" altLang="zh-TW" sz="1400" dirty="0" err="1"/>
              <a:t>panel</a:t>
            </a:r>
            <a:endParaRPr lang="de-DE" altLang="zh-TW" sz="14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de-DE" altLang="zh-TW" sz="1400" dirty="0"/>
              <a:t>Show SW </a:t>
            </a:r>
            <a:r>
              <a:rPr lang="de-DE" altLang="zh-TW" sz="1400" dirty="0" err="1"/>
              <a:t>installing</a:t>
            </a:r>
            <a:r>
              <a:rPr lang="de-DE" altLang="zh-TW" sz="1400" dirty="0"/>
              <a:t> </a:t>
            </a:r>
            <a:r>
              <a:rPr lang="de-DE" altLang="zh-TW" sz="1400" dirty="0" err="1"/>
              <a:t>history</a:t>
            </a:r>
            <a:r>
              <a:rPr lang="de-DE" altLang="zh-TW" sz="1400" dirty="0"/>
              <a:t> 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altLang="zh-TW" sz="1400" dirty="0"/>
          </a:p>
        </p:txBody>
      </p:sp>
    </p:spTree>
    <p:extLst>
      <p:ext uri="{BB962C8B-B14F-4D97-AF65-F5344CB8AC3E}">
        <p14:creationId xmlns:p14="http://schemas.microsoft.com/office/powerpoint/2010/main" val="22716954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A8D6F7-51A1-9BDB-FFE9-EAABB655BC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圖片 55">
            <a:extLst>
              <a:ext uri="{FF2B5EF4-FFF2-40B4-BE49-F238E27FC236}">
                <a16:creationId xmlns:a16="http://schemas.microsoft.com/office/drawing/2014/main" id="{F0A2DE22-1971-135A-A8FE-AAA6CB92A4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6703" y="1103383"/>
            <a:ext cx="6951932" cy="5563859"/>
          </a:xfrm>
          <a:prstGeom prst="rect">
            <a:avLst/>
          </a:prstGeom>
        </p:spPr>
      </p:pic>
      <p:sp>
        <p:nvSpPr>
          <p:cNvPr id="2" name="標題 1">
            <a:extLst>
              <a:ext uri="{FF2B5EF4-FFF2-40B4-BE49-F238E27FC236}">
                <a16:creationId xmlns:a16="http://schemas.microsoft.com/office/drawing/2014/main" id="{B12D1C88-D460-ED03-BF8C-8239775BD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738664"/>
          </a:xfrm>
        </p:spPr>
        <p:txBody>
          <a:bodyPr/>
          <a:lstStyle/>
          <a:p>
            <a:r>
              <a:rPr lang="de-DE" altLang="zh-TW" dirty="0"/>
              <a:t>MSC Info</a:t>
            </a:r>
            <a:br>
              <a:rPr lang="de-DE" altLang="zh-TW" b="0" dirty="0">
                <a:solidFill>
                  <a:srgbClr val="DADADA"/>
                </a:solidFill>
                <a:effectLst/>
                <a:latin typeface="Consolas" panose="020B0609020204030204" pitchFamily="49" charset="0"/>
              </a:rPr>
            </a:br>
            <a:endParaRPr lang="zh-TW" altLang="en-US" dirty="0"/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FA8F1A20-226C-441B-1EAD-CDF59301784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altLang="zh-TW" dirty="0"/>
              <a:t>Function introduction</a:t>
            </a:r>
            <a:endParaRPr lang="zh-TW" altLang="en-US" dirty="0"/>
          </a:p>
          <a:p>
            <a:endParaRPr lang="zh-TW" altLang="en-US" dirty="0"/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DCB4E1A6-3980-25F0-9702-150BD03DC3C8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0C40E7C3-FB12-FAB4-5FA0-0C899F7741BE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CF1C5EDE-12AC-D172-FE28-20A36825820D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CCE53781-F6A5-B9A7-CA53-FD65C0003664}"/>
              </a:ext>
            </a:extLst>
          </p:cNvPr>
          <p:cNvSpPr txBox="1"/>
          <p:nvPr/>
        </p:nvSpPr>
        <p:spPr>
          <a:xfrm>
            <a:off x="8720569" y="1111946"/>
            <a:ext cx="3136397" cy="46576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800"/>
              </a:spcAft>
            </a:pPr>
            <a:r>
              <a:rPr lang="de-DE" altLang="zh-TW" sz="1600" b="1" i="1" u="sng" dirty="0">
                <a:solidFill>
                  <a:srgbClr val="000000"/>
                </a:solidFill>
                <a:latin typeface="ZEISS Frutiger Next W1G"/>
              </a:rPr>
              <a:t>MSC Info </a:t>
            </a:r>
            <a:r>
              <a:rPr kumimoji="0" lang="en-US" altLang="zh-TW" sz="16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Tab</a:t>
            </a:r>
            <a:r>
              <a:rPr kumimoji="0" lang="en-US" altLang="zh-TW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:</a:t>
            </a:r>
          </a:p>
          <a:p>
            <a:pPr marL="342900" indent="-342900">
              <a:buFont typeface="Wingdings" panose="05000000000000000000" pitchFamily="2" charset="2"/>
              <a:buAutoNum type="circleNumWdWhitePlain"/>
            </a:pPr>
            <a:r>
              <a:rPr lang="de-DE" altLang="zh-TW" sz="1400" b="1" dirty="0"/>
              <a:t>MSC </a:t>
            </a:r>
            <a:r>
              <a:rPr lang="de-DE" altLang="zh-TW" sz="1400" b="1" dirty="0" err="1"/>
              <a:t>protocol</a:t>
            </a:r>
            <a:endParaRPr lang="de-DE" altLang="zh-TW" sz="1400" b="1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de-DE" altLang="zh-TW" sz="1400" dirty="0"/>
              <a:t>Select </a:t>
            </a:r>
            <a:r>
              <a:rPr lang="de-DE" altLang="zh-TW" sz="1400" u="sng" dirty="0"/>
              <a:t>2.x</a:t>
            </a:r>
            <a:r>
              <a:rPr lang="de-DE" altLang="zh-TW" sz="1400" dirty="0"/>
              <a:t> </a:t>
            </a:r>
            <a:r>
              <a:rPr lang="de-DE" altLang="zh-TW" sz="1400" dirty="0" err="1"/>
              <a:t>or</a:t>
            </a:r>
            <a:r>
              <a:rPr lang="de-DE" altLang="zh-TW" sz="1400" dirty="0"/>
              <a:t> </a:t>
            </a:r>
            <a:r>
              <a:rPr lang="de-DE" altLang="zh-TW" sz="1400" u="sng" dirty="0"/>
              <a:t>3.x</a:t>
            </a:r>
            <a:r>
              <a:rPr lang="de-DE" altLang="zh-TW" sz="1400" dirty="0"/>
              <a:t> MSC </a:t>
            </a:r>
            <a:r>
              <a:rPr lang="de-DE" altLang="zh-TW" sz="1400" dirty="0" err="1"/>
              <a:t>fw</a:t>
            </a:r>
            <a:r>
              <a:rPr lang="de-DE" altLang="zh-TW" sz="1400" dirty="0"/>
              <a:t> </a:t>
            </a:r>
            <a:r>
              <a:rPr lang="de-DE" altLang="zh-TW" sz="1400" dirty="0" err="1"/>
              <a:t>version</a:t>
            </a:r>
            <a:r>
              <a:rPr lang="de-DE" altLang="zh-TW" sz="1400" dirty="0"/>
              <a:t> </a:t>
            </a:r>
            <a:endParaRPr lang="en-US" altLang="zh-TW" sz="1400" dirty="0"/>
          </a:p>
          <a:p>
            <a:pPr marL="342900" indent="-342900">
              <a:buFont typeface="Wingdings" panose="05000000000000000000" pitchFamily="2" charset="2"/>
              <a:buAutoNum type="circleNumWdWhitePlain"/>
            </a:pPr>
            <a:r>
              <a:rPr lang="en-US" altLang="zh-TW" sz="1400" b="1" dirty="0"/>
              <a:t>CTR/MFC filter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Gauge display filter</a:t>
            </a:r>
          </a:p>
          <a:p>
            <a:pPr marL="342900" indent="-342900">
              <a:buFont typeface="Wingdings" panose="05000000000000000000" pitchFamily="2" charset="2"/>
              <a:buAutoNum type="circleNumWdWhitePlain" startAt="3"/>
            </a:pPr>
            <a:r>
              <a:rPr lang="en-US" altLang="zh-TW" sz="1400" b="1" dirty="0"/>
              <a:t>Parsing file source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zh-TW" sz="1400" dirty="0"/>
              <a:t>Select the log source is mjnxtdebug.log or protocol.txt</a:t>
            </a:r>
          </a:p>
          <a:p>
            <a:pPr marL="342900" indent="-342900">
              <a:buFont typeface="Wingdings" panose="05000000000000000000" pitchFamily="2" charset="2"/>
              <a:buAutoNum type="circleNumWdWhitePlain" startAt="3"/>
            </a:pPr>
            <a:r>
              <a:rPr lang="en-US" altLang="zh-TW" sz="1400" b="1" dirty="0"/>
              <a:t>Protocol information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zh-TW" sz="1400" dirty="0"/>
              <a:t>Information from parsed protocol.txt</a:t>
            </a:r>
          </a:p>
          <a:p>
            <a:pPr marL="342900" indent="-342900">
              <a:buFont typeface="Wingdings" panose="05000000000000000000" pitchFamily="2" charset="2"/>
              <a:buAutoNum type="circleNumWdWhitePlain" startAt="3"/>
            </a:pPr>
            <a:r>
              <a:rPr lang="en-US" altLang="zh-TW" sz="1400" b="1" dirty="0"/>
              <a:t>MSC time filter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zh-TW" sz="1400" dirty="0"/>
              <a:t>Time filtered depends on the mjnxtdebug.log</a:t>
            </a:r>
          </a:p>
          <a:p>
            <a:pPr marL="342900" indent="-342900">
              <a:buFont typeface="Wingdings" panose="05000000000000000000" pitchFamily="2" charset="2"/>
              <a:buAutoNum type="circleNumWdWhitePlain" startAt="3"/>
            </a:pPr>
            <a:r>
              <a:rPr lang="de-DE" altLang="zh-TW" sz="1400" b="1" dirty="0"/>
              <a:t>MSC </a:t>
            </a:r>
            <a:r>
              <a:rPr lang="de-DE" altLang="zh-TW" sz="1400" b="1" dirty="0" err="1"/>
              <a:t>valve</a:t>
            </a:r>
            <a:r>
              <a:rPr lang="de-DE" altLang="zh-TW" sz="1400" b="1" dirty="0"/>
              <a:t> </a:t>
            </a:r>
            <a:r>
              <a:rPr lang="de-DE" altLang="zh-TW" sz="1400" b="1" dirty="0" err="1"/>
              <a:t>diaggram</a:t>
            </a:r>
            <a:endParaRPr lang="de-DE" altLang="zh-TW" sz="1400" b="1" dirty="0"/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de-DE" altLang="zh-TW" sz="1400" dirty="0"/>
              <a:t>Show </a:t>
            </a:r>
            <a:r>
              <a:rPr lang="de-DE" altLang="zh-TW" sz="1400" dirty="0" err="1"/>
              <a:t>valve</a:t>
            </a:r>
            <a:r>
              <a:rPr lang="de-DE" altLang="zh-TW" sz="1400" dirty="0"/>
              <a:t> </a:t>
            </a:r>
            <a:r>
              <a:rPr lang="de-DE" altLang="zh-TW" sz="1400" dirty="0" err="1"/>
              <a:t>status</a:t>
            </a:r>
            <a:endParaRPr lang="de-DE" altLang="zh-TW" sz="1400" dirty="0"/>
          </a:p>
          <a:p>
            <a:pPr marL="342900" indent="-342900">
              <a:buFont typeface="Wingdings" panose="05000000000000000000" pitchFamily="2" charset="2"/>
              <a:buAutoNum type="circleNumWdWhitePlain" startAt="3"/>
            </a:pPr>
            <a:r>
              <a:rPr lang="de-DE" altLang="zh-TW" sz="1400" b="1" dirty="0"/>
              <a:t>Generate </a:t>
            </a:r>
            <a:r>
              <a:rPr lang="de-DE" altLang="zh-TW" sz="1400" b="1" dirty="0" err="1"/>
              <a:t>chart</a:t>
            </a:r>
            <a:r>
              <a:rPr lang="de-DE" altLang="zh-TW" sz="1400" b="1" dirty="0"/>
              <a:t> </a:t>
            </a:r>
            <a:r>
              <a:rPr lang="de-DE" altLang="zh-TW" sz="1400" b="1" dirty="0" err="1"/>
              <a:t>button</a:t>
            </a:r>
            <a:endParaRPr lang="de-DE" altLang="zh-TW" sz="1400" b="1" dirty="0"/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de-DE" altLang="zh-TW" sz="1400" dirty="0"/>
              <a:t>Generate </a:t>
            </a:r>
            <a:r>
              <a:rPr lang="de-DE" altLang="zh-TW" sz="1400" dirty="0" err="1"/>
              <a:t>the</a:t>
            </a:r>
            <a:r>
              <a:rPr lang="de-DE" altLang="zh-TW" sz="1400" dirty="0"/>
              <a:t> </a:t>
            </a:r>
            <a:r>
              <a:rPr lang="de-DE" altLang="zh-TW" sz="1400" dirty="0" err="1"/>
              <a:t>chart</a:t>
            </a:r>
            <a:endParaRPr lang="de-DE" altLang="zh-TW" sz="1400" dirty="0"/>
          </a:p>
          <a:p>
            <a:pPr marL="342900" indent="-342900">
              <a:buFont typeface="Wingdings" panose="05000000000000000000" pitchFamily="2" charset="2"/>
              <a:buAutoNum type="circleNumWdWhitePlain" startAt="3"/>
            </a:pPr>
            <a:r>
              <a:rPr lang="de-DE" altLang="zh-TW" sz="1400" b="1" dirty="0"/>
              <a:t>Export </a:t>
            </a:r>
            <a:r>
              <a:rPr lang="de-DE" altLang="zh-TW" sz="1400" b="1" dirty="0" err="1"/>
              <a:t>button</a:t>
            </a:r>
            <a:endParaRPr lang="de-DE" altLang="zh-TW" sz="1400" b="1" dirty="0"/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de-DE" altLang="zh-TW" sz="1400" dirty="0"/>
              <a:t>Export </a:t>
            </a:r>
            <a:r>
              <a:rPr lang="de-DE" altLang="zh-TW" sz="1400" dirty="0" err="1"/>
              <a:t>to</a:t>
            </a:r>
            <a:r>
              <a:rPr lang="de-DE" altLang="zh-TW" sz="1400" dirty="0"/>
              <a:t> Excel</a:t>
            </a:r>
          </a:p>
        </p:txBody>
      </p:sp>
      <p:sp>
        <p:nvSpPr>
          <p:cNvPr id="13" name="文字方塊 12">
            <a:extLst>
              <a:ext uri="{FF2B5EF4-FFF2-40B4-BE49-F238E27FC236}">
                <a16:creationId xmlns:a16="http://schemas.microsoft.com/office/drawing/2014/main" id="{036730C3-F52B-AAFC-C36A-C4DA3DB3D951}"/>
              </a:ext>
            </a:extLst>
          </p:cNvPr>
          <p:cNvSpPr txBox="1"/>
          <p:nvPr/>
        </p:nvSpPr>
        <p:spPr>
          <a:xfrm>
            <a:off x="0" y="1970639"/>
            <a:ext cx="152476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ZEISS Frutiger Next W1G"/>
              </a:defRPr>
            </a:lvl1pPr>
          </a:lstStyle>
          <a:p>
            <a:pPr marL="342900" indent="-342900">
              <a:buFont typeface="Wingdings" panose="05000000000000000000" pitchFamily="2" charset="2"/>
              <a:buAutoNum type="circleNumWdWhitePlain"/>
            </a:pPr>
            <a:r>
              <a:rPr lang="en-US" altLang="zh-TW" dirty="0"/>
              <a:t>MSC protocol</a:t>
            </a:r>
            <a:endParaRPr lang="zh-TW" altLang="en-US" dirty="0"/>
          </a:p>
        </p:txBody>
      </p:sp>
      <p:cxnSp>
        <p:nvCxnSpPr>
          <p:cNvPr id="14" name="直線接點 13">
            <a:extLst>
              <a:ext uri="{FF2B5EF4-FFF2-40B4-BE49-F238E27FC236}">
                <a16:creationId xmlns:a16="http://schemas.microsoft.com/office/drawing/2014/main" id="{9EB616A0-5DD2-42B9-EC15-676FCA4D8516}"/>
              </a:ext>
            </a:extLst>
          </p:cNvPr>
          <p:cNvCxnSpPr>
            <a:cxnSpLocks/>
            <a:stCxn id="13" idx="3"/>
          </p:cNvCxnSpPr>
          <p:nvPr/>
        </p:nvCxnSpPr>
        <p:spPr>
          <a:xfrm>
            <a:off x="1524769" y="2093750"/>
            <a:ext cx="216684" cy="0"/>
          </a:xfrm>
          <a:prstGeom prst="line">
            <a:avLst/>
          </a:prstGeom>
          <a:ln w="0">
            <a:solidFill>
              <a:srgbClr val="FF1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FC9D4095-F004-A535-7A11-5AABD138C4E3}"/>
              </a:ext>
            </a:extLst>
          </p:cNvPr>
          <p:cNvSpPr txBox="1"/>
          <p:nvPr/>
        </p:nvSpPr>
        <p:spPr>
          <a:xfrm>
            <a:off x="5251639" y="1543755"/>
            <a:ext cx="188806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ZEISS Frutiger Next W1G"/>
              </a:defRPr>
            </a:lvl1pPr>
          </a:lstStyle>
          <a:p>
            <a:pPr marL="342900" indent="-342900">
              <a:buFont typeface="Wingdings" panose="05000000000000000000" pitchFamily="2" charset="2"/>
              <a:buAutoNum type="circleNumWdWhitePlain" startAt="2"/>
            </a:pPr>
            <a:r>
              <a:rPr lang="en-US" altLang="zh-TW" dirty="0"/>
              <a:t>CTR/MFC filter </a:t>
            </a:r>
            <a:endParaRPr lang="zh-TW" altLang="en-US" dirty="0"/>
          </a:p>
        </p:txBody>
      </p:sp>
      <p:cxnSp>
        <p:nvCxnSpPr>
          <p:cNvPr id="19" name="直線接點 18">
            <a:extLst>
              <a:ext uri="{FF2B5EF4-FFF2-40B4-BE49-F238E27FC236}">
                <a16:creationId xmlns:a16="http://schemas.microsoft.com/office/drawing/2014/main" id="{D057D236-E656-A75F-5801-68472E822852}"/>
              </a:ext>
            </a:extLst>
          </p:cNvPr>
          <p:cNvCxnSpPr>
            <a:cxnSpLocks/>
            <a:stCxn id="18" idx="2"/>
          </p:cNvCxnSpPr>
          <p:nvPr/>
        </p:nvCxnSpPr>
        <p:spPr>
          <a:xfrm flipH="1">
            <a:off x="5370945" y="1789976"/>
            <a:ext cx="824729" cy="226978"/>
          </a:xfrm>
          <a:prstGeom prst="line">
            <a:avLst/>
          </a:prstGeom>
          <a:ln w="0">
            <a:solidFill>
              <a:srgbClr val="FF1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文字方塊 28">
            <a:extLst>
              <a:ext uri="{FF2B5EF4-FFF2-40B4-BE49-F238E27FC236}">
                <a16:creationId xmlns:a16="http://schemas.microsoft.com/office/drawing/2014/main" id="{F40D8E1F-B424-3FD7-6117-F1618D70E430}"/>
              </a:ext>
            </a:extLst>
          </p:cNvPr>
          <p:cNvSpPr txBox="1"/>
          <p:nvPr/>
        </p:nvSpPr>
        <p:spPr>
          <a:xfrm>
            <a:off x="0" y="2456921"/>
            <a:ext cx="152606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ZEISS Frutiger Next W1G"/>
              </a:defRPr>
            </a:lvl1pPr>
          </a:lstStyle>
          <a:p>
            <a:pPr marL="342900" indent="-342900">
              <a:buFont typeface="Wingdings" panose="05000000000000000000" pitchFamily="2" charset="2"/>
              <a:buAutoNum type="circleNumWdWhitePlain" startAt="3"/>
            </a:pPr>
            <a:r>
              <a:rPr lang="en-US" altLang="zh-TW" dirty="0"/>
              <a:t>Parsing file source</a:t>
            </a:r>
            <a:endParaRPr lang="zh-TW" altLang="en-US" dirty="0"/>
          </a:p>
        </p:txBody>
      </p:sp>
      <p:cxnSp>
        <p:nvCxnSpPr>
          <p:cNvPr id="30" name="直線接點 29">
            <a:extLst>
              <a:ext uri="{FF2B5EF4-FFF2-40B4-BE49-F238E27FC236}">
                <a16:creationId xmlns:a16="http://schemas.microsoft.com/office/drawing/2014/main" id="{919C7440-2CA9-98E1-4583-992CD59EC3E4}"/>
              </a:ext>
            </a:extLst>
          </p:cNvPr>
          <p:cNvCxnSpPr>
            <a:cxnSpLocks/>
            <a:stCxn id="29" idx="0"/>
          </p:cNvCxnSpPr>
          <p:nvPr/>
        </p:nvCxnSpPr>
        <p:spPr>
          <a:xfrm flipV="1">
            <a:off x="763033" y="2247341"/>
            <a:ext cx="978419" cy="209580"/>
          </a:xfrm>
          <a:prstGeom prst="line">
            <a:avLst/>
          </a:prstGeom>
          <a:ln w="0">
            <a:solidFill>
              <a:srgbClr val="FF1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文字方塊 35">
            <a:extLst>
              <a:ext uri="{FF2B5EF4-FFF2-40B4-BE49-F238E27FC236}">
                <a16:creationId xmlns:a16="http://schemas.microsoft.com/office/drawing/2014/main" id="{DFF3BC36-09A3-6E2A-0544-E14E628ED7D1}"/>
              </a:ext>
            </a:extLst>
          </p:cNvPr>
          <p:cNvSpPr txBox="1"/>
          <p:nvPr/>
        </p:nvSpPr>
        <p:spPr>
          <a:xfrm>
            <a:off x="6106105" y="2545686"/>
            <a:ext cx="152312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ZEISS Frutiger Next W1G"/>
              </a:defRPr>
            </a:lvl1pPr>
          </a:lstStyle>
          <a:p>
            <a:pPr marL="342900" indent="-342900">
              <a:buFont typeface="Wingdings" panose="05000000000000000000" pitchFamily="2" charset="2"/>
              <a:buAutoNum type="circleNumWdWhitePlain" startAt="4"/>
            </a:pPr>
            <a:r>
              <a:rPr lang="en-US" altLang="zh-TW" dirty="0"/>
              <a:t>Protocol information</a:t>
            </a:r>
            <a:endParaRPr lang="zh-TW" altLang="en-US" dirty="0"/>
          </a:p>
        </p:txBody>
      </p:sp>
      <p:cxnSp>
        <p:nvCxnSpPr>
          <p:cNvPr id="37" name="直線接點 36">
            <a:extLst>
              <a:ext uri="{FF2B5EF4-FFF2-40B4-BE49-F238E27FC236}">
                <a16:creationId xmlns:a16="http://schemas.microsoft.com/office/drawing/2014/main" id="{0EB10561-2DC9-C582-E96F-64DC06EB44CA}"/>
              </a:ext>
            </a:extLst>
          </p:cNvPr>
          <p:cNvCxnSpPr>
            <a:cxnSpLocks/>
            <a:stCxn id="36" idx="1"/>
          </p:cNvCxnSpPr>
          <p:nvPr/>
        </p:nvCxnSpPr>
        <p:spPr>
          <a:xfrm flipH="1" flipV="1">
            <a:off x="5532582" y="2480600"/>
            <a:ext cx="573523" cy="311308"/>
          </a:xfrm>
          <a:prstGeom prst="line">
            <a:avLst/>
          </a:prstGeom>
          <a:ln w="0">
            <a:solidFill>
              <a:srgbClr val="FF1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文字方塊 42">
            <a:extLst>
              <a:ext uri="{FF2B5EF4-FFF2-40B4-BE49-F238E27FC236}">
                <a16:creationId xmlns:a16="http://schemas.microsoft.com/office/drawing/2014/main" id="{8274595A-6D4A-10A0-A17C-1D9631199105}"/>
              </a:ext>
            </a:extLst>
          </p:cNvPr>
          <p:cNvSpPr txBox="1"/>
          <p:nvPr/>
        </p:nvSpPr>
        <p:spPr>
          <a:xfrm>
            <a:off x="4095767" y="2703142"/>
            <a:ext cx="138087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ZEISS Frutiger Next W1G"/>
              </a:defRPr>
            </a:lvl1pPr>
          </a:lstStyle>
          <a:p>
            <a:pPr marL="342900" indent="-342900">
              <a:buFont typeface="Wingdings" panose="05000000000000000000" pitchFamily="2" charset="2"/>
              <a:buAutoNum type="circleNumWdWhitePlain" startAt="5"/>
            </a:pPr>
            <a:r>
              <a:rPr lang="en-US" altLang="zh-TW" dirty="0"/>
              <a:t>MSC log time filter</a:t>
            </a:r>
            <a:endParaRPr lang="zh-TW" altLang="en-US" dirty="0"/>
          </a:p>
        </p:txBody>
      </p:sp>
      <p:cxnSp>
        <p:nvCxnSpPr>
          <p:cNvPr id="44" name="直線接點 43">
            <a:extLst>
              <a:ext uri="{FF2B5EF4-FFF2-40B4-BE49-F238E27FC236}">
                <a16:creationId xmlns:a16="http://schemas.microsoft.com/office/drawing/2014/main" id="{419F0554-64A7-B0B7-A85E-05EC584ED3FA}"/>
              </a:ext>
            </a:extLst>
          </p:cNvPr>
          <p:cNvCxnSpPr>
            <a:cxnSpLocks/>
            <a:stCxn id="43" idx="1"/>
          </p:cNvCxnSpPr>
          <p:nvPr/>
        </p:nvCxnSpPr>
        <p:spPr>
          <a:xfrm flipH="1">
            <a:off x="3795618" y="2949364"/>
            <a:ext cx="300149" cy="0"/>
          </a:xfrm>
          <a:prstGeom prst="line">
            <a:avLst/>
          </a:prstGeom>
          <a:ln w="0">
            <a:solidFill>
              <a:srgbClr val="FF1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文字方塊 75">
            <a:extLst>
              <a:ext uri="{FF2B5EF4-FFF2-40B4-BE49-F238E27FC236}">
                <a16:creationId xmlns:a16="http://schemas.microsoft.com/office/drawing/2014/main" id="{79206241-3080-CCE8-B417-BB11AE1151B9}"/>
              </a:ext>
            </a:extLst>
          </p:cNvPr>
          <p:cNvSpPr txBox="1"/>
          <p:nvPr/>
        </p:nvSpPr>
        <p:spPr>
          <a:xfrm>
            <a:off x="37032" y="3458971"/>
            <a:ext cx="146011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ZEISS Frutiger Next W1G"/>
              </a:defRPr>
            </a:lvl1pPr>
          </a:lstStyle>
          <a:p>
            <a:pPr marL="342900" indent="-342900">
              <a:buFont typeface="Wingdings" panose="05000000000000000000" pitchFamily="2" charset="2"/>
              <a:buAutoNum type="circleNumWdWhitePlain" startAt="6"/>
            </a:pPr>
            <a:r>
              <a:rPr lang="en-US" altLang="zh-TW" dirty="0"/>
              <a:t>MSC valve diagram</a:t>
            </a:r>
            <a:endParaRPr lang="zh-TW" altLang="en-US" dirty="0"/>
          </a:p>
        </p:txBody>
      </p:sp>
      <p:cxnSp>
        <p:nvCxnSpPr>
          <p:cNvPr id="77" name="直線接點 76">
            <a:extLst>
              <a:ext uri="{FF2B5EF4-FFF2-40B4-BE49-F238E27FC236}">
                <a16:creationId xmlns:a16="http://schemas.microsoft.com/office/drawing/2014/main" id="{73802E98-3D4A-8F19-0E8D-100932F5E847}"/>
              </a:ext>
            </a:extLst>
          </p:cNvPr>
          <p:cNvCxnSpPr>
            <a:cxnSpLocks/>
            <a:stCxn id="76" idx="0"/>
          </p:cNvCxnSpPr>
          <p:nvPr/>
        </p:nvCxnSpPr>
        <p:spPr>
          <a:xfrm flipV="1">
            <a:off x="767088" y="3251072"/>
            <a:ext cx="1613726" cy="207899"/>
          </a:xfrm>
          <a:prstGeom prst="line">
            <a:avLst/>
          </a:prstGeom>
          <a:ln w="0">
            <a:solidFill>
              <a:srgbClr val="FF1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文字方塊 82">
            <a:extLst>
              <a:ext uri="{FF2B5EF4-FFF2-40B4-BE49-F238E27FC236}">
                <a16:creationId xmlns:a16="http://schemas.microsoft.com/office/drawing/2014/main" id="{B87BECBC-F874-9286-3E39-CEF125D43108}"/>
              </a:ext>
            </a:extLst>
          </p:cNvPr>
          <p:cNvSpPr txBox="1"/>
          <p:nvPr/>
        </p:nvSpPr>
        <p:spPr>
          <a:xfrm>
            <a:off x="32977" y="4607828"/>
            <a:ext cx="146011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ZEISS Frutiger Next W1G"/>
              </a:defRPr>
            </a:lvl1pPr>
          </a:lstStyle>
          <a:p>
            <a:pPr marL="342900" indent="-342900">
              <a:buFont typeface="Wingdings" panose="05000000000000000000" pitchFamily="2" charset="2"/>
              <a:buAutoNum type="circleNumWdWhitePlain" startAt="7"/>
            </a:pPr>
            <a:r>
              <a:rPr lang="en-US" altLang="zh-TW" dirty="0"/>
              <a:t>Trend chart</a:t>
            </a:r>
            <a:endParaRPr lang="zh-TW" altLang="en-US" dirty="0"/>
          </a:p>
        </p:txBody>
      </p:sp>
      <p:cxnSp>
        <p:nvCxnSpPr>
          <p:cNvPr id="84" name="直線接點 83">
            <a:extLst>
              <a:ext uri="{FF2B5EF4-FFF2-40B4-BE49-F238E27FC236}">
                <a16:creationId xmlns:a16="http://schemas.microsoft.com/office/drawing/2014/main" id="{1A7FC11C-D929-3913-D4CD-85F0BA51D1A1}"/>
              </a:ext>
            </a:extLst>
          </p:cNvPr>
          <p:cNvCxnSpPr>
            <a:cxnSpLocks/>
            <a:stCxn id="83" idx="3"/>
          </p:cNvCxnSpPr>
          <p:nvPr/>
        </p:nvCxnSpPr>
        <p:spPr>
          <a:xfrm flipV="1">
            <a:off x="1493088" y="4196890"/>
            <a:ext cx="1019601" cy="534049"/>
          </a:xfrm>
          <a:prstGeom prst="line">
            <a:avLst/>
          </a:prstGeom>
          <a:ln w="0">
            <a:solidFill>
              <a:srgbClr val="FF1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文字方塊 89">
            <a:extLst>
              <a:ext uri="{FF2B5EF4-FFF2-40B4-BE49-F238E27FC236}">
                <a16:creationId xmlns:a16="http://schemas.microsoft.com/office/drawing/2014/main" id="{5D4C3035-192D-0B51-4E21-617DE8A8DF15}"/>
              </a:ext>
            </a:extLst>
          </p:cNvPr>
          <p:cNvSpPr txBox="1"/>
          <p:nvPr/>
        </p:nvSpPr>
        <p:spPr>
          <a:xfrm>
            <a:off x="0" y="5652826"/>
            <a:ext cx="17135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ZEISS Frutiger Next W1G"/>
              </a:defRPr>
            </a:lvl1pPr>
          </a:lstStyle>
          <a:p>
            <a:pPr marL="342900" indent="-342900">
              <a:buFont typeface="Wingdings" panose="05000000000000000000" pitchFamily="2" charset="2"/>
              <a:buAutoNum type="circleNumWdWhitePlain" startAt="8"/>
            </a:pPr>
            <a:r>
              <a:rPr lang="en-US" altLang="zh-TW" dirty="0"/>
              <a:t>Generate chart</a:t>
            </a:r>
            <a:endParaRPr lang="zh-TW" altLang="en-US" dirty="0"/>
          </a:p>
        </p:txBody>
      </p:sp>
      <p:cxnSp>
        <p:nvCxnSpPr>
          <p:cNvPr id="91" name="直線接點 90">
            <a:extLst>
              <a:ext uri="{FF2B5EF4-FFF2-40B4-BE49-F238E27FC236}">
                <a16:creationId xmlns:a16="http://schemas.microsoft.com/office/drawing/2014/main" id="{6C1C3A70-78A3-725C-56EA-F86ECB48E45E}"/>
              </a:ext>
            </a:extLst>
          </p:cNvPr>
          <p:cNvCxnSpPr>
            <a:cxnSpLocks/>
          </p:cNvCxnSpPr>
          <p:nvPr/>
        </p:nvCxnSpPr>
        <p:spPr>
          <a:xfrm>
            <a:off x="1460314" y="5899047"/>
            <a:ext cx="314216" cy="123111"/>
          </a:xfrm>
          <a:prstGeom prst="line">
            <a:avLst/>
          </a:prstGeom>
          <a:ln w="0">
            <a:solidFill>
              <a:srgbClr val="FF1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文字方塊 97">
            <a:extLst>
              <a:ext uri="{FF2B5EF4-FFF2-40B4-BE49-F238E27FC236}">
                <a16:creationId xmlns:a16="http://schemas.microsoft.com/office/drawing/2014/main" id="{CCF444F6-BE00-61AF-083A-C781F1DA3C8D}"/>
              </a:ext>
            </a:extLst>
          </p:cNvPr>
          <p:cNvSpPr txBox="1"/>
          <p:nvPr/>
        </p:nvSpPr>
        <p:spPr>
          <a:xfrm>
            <a:off x="2512689" y="5922207"/>
            <a:ext cx="182839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ZEISS Frutiger Next W1G"/>
              </a:defRPr>
            </a:lvl1pPr>
          </a:lstStyle>
          <a:p>
            <a:pPr marL="342900" indent="-342900">
              <a:buFont typeface="Wingdings" panose="05000000000000000000" pitchFamily="2" charset="2"/>
              <a:buAutoNum type="circleNumWdWhitePlain" startAt="9"/>
            </a:pPr>
            <a:r>
              <a:rPr lang="en-US" altLang="zh-TW" dirty="0"/>
              <a:t>Export to Excel</a:t>
            </a:r>
            <a:endParaRPr lang="zh-TW" altLang="en-US" dirty="0"/>
          </a:p>
        </p:txBody>
      </p:sp>
      <p:cxnSp>
        <p:nvCxnSpPr>
          <p:cNvPr id="99" name="直線接點 98">
            <a:extLst>
              <a:ext uri="{FF2B5EF4-FFF2-40B4-BE49-F238E27FC236}">
                <a16:creationId xmlns:a16="http://schemas.microsoft.com/office/drawing/2014/main" id="{30BF97D5-4EF2-2673-EB4E-086D1982437F}"/>
              </a:ext>
            </a:extLst>
          </p:cNvPr>
          <p:cNvCxnSpPr>
            <a:cxnSpLocks/>
            <a:endCxn id="98" idx="1"/>
          </p:cNvCxnSpPr>
          <p:nvPr/>
        </p:nvCxnSpPr>
        <p:spPr>
          <a:xfrm>
            <a:off x="2253673" y="6045317"/>
            <a:ext cx="259016" cy="1"/>
          </a:xfrm>
          <a:prstGeom prst="line">
            <a:avLst/>
          </a:prstGeom>
          <a:ln w="0">
            <a:solidFill>
              <a:srgbClr val="FF1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40591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837C05-C446-59E3-C20E-2F54A6F83E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圖片 7">
            <a:extLst>
              <a:ext uri="{FF2B5EF4-FFF2-40B4-BE49-F238E27FC236}">
                <a16:creationId xmlns:a16="http://schemas.microsoft.com/office/drawing/2014/main" id="{33DEC093-2BEB-37EC-DB67-296D9CD12A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9520" y="1346344"/>
            <a:ext cx="8592589" cy="4833332"/>
          </a:xfrm>
          <a:prstGeom prst="rect">
            <a:avLst/>
          </a:prstGeom>
        </p:spPr>
      </p:pic>
      <p:sp>
        <p:nvSpPr>
          <p:cNvPr id="2" name="標題 1">
            <a:extLst>
              <a:ext uri="{FF2B5EF4-FFF2-40B4-BE49-F238E27FC236}">
                <a16:creationId xmlns:a16="http://schemas.microsoft.com/office/drawing/2014/main" id="{A58522E5-3865-D1E3-057A-286C6981D4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738664"/>
          </a:xfrm>
        </p:spPr>
        <p:txBody>
          <a:bodyPr/>
          <a:lstStyle/>
          <a:p>
            <a:r>
              <a:rPr lang="de-DE" altLang="zh-TW" dirty="0"/>
              <a:t>MSC Info</a:t>
            </a:r>
            <a:br>
              <a:rPr lang="de-DE" altLang="zh-TW" b="0" dirty="0">
                <a:solidFill>
                  <a:srgbClr val="DADADA"/>
                </a:solidFill>
                <a:effectLst/>
                <a:latin typeface="Consolas" panose="020B0609020204030204" pitchFamily="49" charset="0"/>
              </a:rPr>
            </a:br>
            <a:endParaRPr lang="zh-TW" altLang="en-US" dirty="0"/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52482CC0-FB6A-19BA-CAE2-FB38D5B9383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altLang="zh-TW" dirty="0"/>
              <a:t>Valve information window</a:t>
            </a:r>
            <a:endParaRPr lang="zh-TW" altLang="en-US" dirty="0"/>
          </a:p>
          <a:p>
            <a:endParaRPr lang="zh-TW" altLang="en-US" dirty="0"/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49AEE169-1B1C-6FEE-8DA4-E0E5F1221889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E3211B3E-7589-39B7-CFA2-E571BBA43EDB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419736F5-25A3-D79C-AE44-2787BDDDFBC8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FFF38762-FAD8-F932-E5EC-EE47F8AB543A}"/>
              </a:ext>
            </a:extLst>
          </p:cNvPr>
          <p:cNvSpPr txBox="1"/>
          <p:nvPr/>
        </p:nvSpPr>
        <p:spPr>
          <a:xfrm>
            <a:off x="9153759" y="1444453"/>
            <a:ext cx="2958140" cy="9951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800"/>
              </a:spcAft>
            </a:pPr>
            <a:r>
              <a:rPr kumimoji="0" lang="de-DE" altLang="zh-TW" sz="16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Valve </a:t>
            </a:r>
            <a:r>
              <a:rPr kumimoji="0" lang="de-DE" altLang="zh-TW" sz="1600" b="1" i="1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state</a:t>
            </a:r>
            <a:r>
              <a:rPr kumimoji="0" lang="de-DE" altLang="zh-TW" sz="16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 </a:t>
            </a:r>
            <a:r>
              <a:rPr kumimoji="0" lang="de-DE" altLang="zh-TW" sz="1600" b="1" i="1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window</a:t>
            </a:r>
            <a:r>
              <a:rPr kumimoji="0" lang="en-US" altLang="zh-TW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: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de-DE" altLang="zh-TW" sz="1400" b="1" dirty="0"/>
              <a:t>Press Valve State </a:t>
            </a:r>
            <a:r>
              <a:rPr lang="de-DE" altLang="zh-TW" sz="1400" b="1" dirty="0" err="1"/>
              <a:t>button</a:t>
            </a:r>
            <a:endParaRPr lang="de-DE" altLang="zh-TW" sz="1400" b="1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de-DE" altLang="zh-TW" sz="1400" dirty="0"/>
              <a:t>Valve </a:t>
            </a:r>
            <a:r>
              <a:rPr lang="de-DE" altLang="zh-TW" sz="1400" dirty="0" err="1"/>
              <a:t>state</a:t>
            </a:r>
            <a:r>
              <a:rPr lang="de-DE" altLang="zh-TW" sz="1400" dirty="0"/>
              <a:t> will </a:t>
            </a:r>
            <a:r>
              <a:rPr lang="de-DE" altLang="zh-TW" sz="1400" dirty="0" err="1"/>
              <a:t>be</a:t>
            </a:r>
            <a:r>
              <a:rPr lang="de-DE" altLang="zh-TW" sz="1400" dirty="0"/>
              <a:t> </a:t>
            </a:r>
            <a:r>
              <a:rPr lang="de-DE" altLang="zh-TW" sz="1400" dirty="0" err="1"/>
              <a:t>displayed</a:t>
            </a:r>
            <a:r>
              <a:rPr lang="de-DE" altLang="zh-TW" sz="1400" dirty="0"/>
              <a:t> </a:t>
            </a:r>
            <a:r>
              <a:rPr lang="de-DE" altLang="zh-TW" sz="1400" dirty="0" err="1"/>
              <a:t>based</a:t>
            </a:r>
            <a:r>
              <a:rPr lang="de-DE" altLang="zh-TW" sz="1400" dirty="0"/>
              <a:t> on </a:t>
            </a:r>
            <a:r>
              <a:rPr lang="de-DE" altLang="zh-TW" sz="1400" dirty="0" err="1"/>
              <a:t>the</a:t>
            </a:r>
            <a:r>
              <a:rPr lang="de-DE" altLang="zh-TW" sz="1400" dirty="0"/>
              <a:t> time slice</a:t>
            </a:r>
            <a:endParaRPr lang="en-US" altLang="zh-TW" sz="1400" dirty="0"/>
          </a:p>
        </p:txBody>
      </p: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CC03A8F3-35B2-1B08-C180-431136C442AC}"/>
              </a:ext>
            </a:extLst>
          </p:cNvPr>
          <p:cNvSpPr txBox="1"/>
          <p:nvPr/>
        </p:nvSpPr>
        <p:spPr>
          <a:xfrm>
            <a:off x="5251639" y="1543755"/>
            <a:ext cx="188806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ZEISS Frutiger Next W1G"/>
              </a:defRPr>
            </a:lvl1pPr>
          </a:lstStyle>
          <a:p>
            <a:pPr marL="342900" indent="-342900">
              <a:buFont typeface="Wingdings" panose="05000000000000000000" pitchFamily="2" charset="2"/>
              <a:buAutoNum type="circleNumWdWhitePlain" startAt="2"/>
            </a:pPr>
            <a:r>
              <a:rPr lang="en-US" altLang="zh-TW" dirty="0"/>
              <a:t>CTR/MFC filter </a:t>
            </a:r>
            <a:endParaRPr lang="zh-TW" altLang="en-US" dirty="0"/>
          </a:p>
        </p:txBody>
      </p:sp>
      <p:cxnSp>
        <p:nvCxnSpPr>
          <p:cNvPr id="19" name="直線接點 18">
            <a:extLst>
              <a:ext uri="{FF2B5EF4-FFF2-40B4-BE49-F238E27FC236}">
                <a16:creationId xmlns:a16="http://schemas.microsoft.com/office/drawing/2014/main" id="{EC57B21E-5DCE-F6AB-F9BB-830A8D90804B}"/>
              </a:ext>
            </a:extLst>
          </p:cNvPr>
          <p:cNvCxnSpPr>
            <a:cxnSpLocks/>
          </p:cNvCxnSpPr>
          <p:nvPr/>
        </p:nvCxnSpPr>
        <p:spPr>
          <a:xfrm flipH="1">
            <a:off x="1125200" y="2250172"/>
            <a:ext cx="4167458" cy="699191"/>
          </a:xfrm>
          <a:prstGeom prst="line">
            <a:avLst/>
          </a:prstGeom>
          <a:ln w="0">
            <a:solidFill>
              <a:srgbClr val="FF1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>
            <a:extLst>
              <a:ext uri="{FF2B5EF4-FFF2-40B4-BE49-F238E27FC236}">
                <a16:creationId xmlns:a16="http://schemas.microsoft.com/office/drawing/2014/main" id="{F709FD9A-A466-471B-01CD-327602C71FF9}"/>
              </a:ext>
            </a:extLst>
          </p:cNvPr>
          <p:cNvSpPr/>
          <p:nvPr/>
        </p:nvSpPr>
        <p:spPr>
          <a:xfrm>
            <a:off x="850826" y="2918153"/>
            <a:ext cx="386845" cy="111374"/>
          </a:xfrm>
          <a:prstGeom prst="rect">
            <a:avLst/>
          </a:prstGeom>
          <a:noFill/>
          <a:ln w="15875">
            <a:solidFill>
              <a:srgbClr val="FF1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cxnSp>
        <p:nvCxnSpPr>
          <p:cNvPr id="11" name="直線接點 10">
            <a:extLst>
              <a:ext uri="{FF2B5EF4-FFF2-40B4-BE49-F238E27FC236}">
                <a16:creationId xmlns:a16="http://schemas.microsoft.com/office/drawing/2014/main" id="{579BCF59-22D0-11B2-D014-8880D43FE2FC}"/>
              </a:ext>
            </a:extLst>
          </p:cNvPr>
          <p:cNvCxnSpPr>
            <a:cxnSpLocks/>
          </p:cNvCxnSpPr>
          <p:nvPr/>
        </p:nvCxnSpPr>
        <p:spPr>
          <a:xfrm flipH="1" flipV="1">
            <a:off x="4110180" y="3763010"/>
            <a:ext cx="1456852" cy="90181"/>
          </a:xfrm>
          <a:prstGeom prst="line">
            <a:avLst/>
          </a:prstGeom>
          <a:ln w="0">
            <a:solidFill>
              <a:srgbClr val="A702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矩形 16">
            <a:extLst>
              <a:ext uri="{FF2B5EF4-FFF2-40B4-BE49-F238E27FC236}">
                <a16:creationId xmlns:a16="http://schemas.microsoft.com/office/drawing/2014/main" id="{CDDACCD5-5E29-08E8-A15D-8C5C7E589E02}"/>
              </a:ext>
            </a:extLst>
          </p:cNvPr>
          <p:cNvSpPr/>
          <p:nvPr/>
        </p:nvSpPr>
        <p:spPr>
          <a:xfrm>
            <a:off x="3948530" y="3283520"/>
            <a:ext cx="308034" cy="1188374"/>
          </a:xfrm>
          <a:prstGeom prst="rect">
            <a:avLst/>
          </a:prstGeom>
          <a:noFill/>
          <a:ln w="15875">
            <a:solidFill>
              <a:srgbClr val="A702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27822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79824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02A8EC-F1BA-FDB6-8B82-02953B86D3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AC6765C6-D881-9DC6-F9FE-21E767739C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altLang="zh-TW" dirty="0" err="1"/>
              <a:t>LogAnalyser</a:t>
            </a:r>
            <a:r>
              <a:rPr lang="en-US" altLang="zh-TW" dirty="0"/>
              <a:t> Tool Introduction</a:t>
            </a:r>
            <a:endParaRPr lang="zh-TW" altLang="en-US" dirty="0"/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F3E9E729-F3B3-2C58-AE99-AE97452F9DB7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endParaRPr lang="zh-TW" altLang="en-US" dirty="0"/>
          </a:p>
          <a:p>
            <a:endParaRPr lang="zh-TW" altLang="en-US" dirty="0"/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B5B03B12-061A-D67A-50EA-8164DE474263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90A34869-2AEF-D484-5C53-8C1817EF3548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B103DB2E-4937-16A7-6349-6FBF2636B9BB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874E6747-AF55-895C-77ED-6123006FDC14}"/>
              </a:ext>
            </a:extLst>
          </p:cNvPr>
          <p:cNvSpPr txBox="1"/>
          <p:nvPr/>
        </p:nvSpPr>
        <p:spPr>
          <a:xfrm>
            <a:off x="556975" y="1474619"/>
            <a:ext cx="11119088" cy="39087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altLang="zh-TW" sz="1600" b="1" i="1" u="sng" dirty="0">
                <a:solidFill>
                  <a:srgbClr val="000000"/>
                </a:solidFill>
                <a:latin typeface="ZEISS Frutiger Next W1G"/>
              </a:rPr>
              <a:t>Purpose</a:t>
            </a:r>
            <a:r>
              <a:rPr kumimoji="0" lang="en-US" altLang="zh-TW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altLang="zh-TW" sz="1400" b="1" dirty="0">
                <a:solidFill>
                  <a:srgbClr val="000000"/>
                </a:solidFill>
                <a:latin typeface="ZEISS Frutiger Next UI W05"/>
              </a:rPr>
              <a:t>Assist </a:t>
            </a:r>
            <a:r>
              <a:rPr lang="de-DE" altLang="zh-TW" sz="1400" b="1" dirty="0" err="1">
                <a:solidFill>
                  <a:srgbClr val="000000"/>
                </a:solidFill>
                <a:latin typeface="ZEISS Frutiger Next UI W05"/>
              </a:rPr>
              <a:t>user</a:t>
            </a:r>
            <a:r>
              <a:rPr lang="de-DE" altLang="zh-TW" sz="1400" b="1" dirty="0">
                <a:solidFill>
                  <a:srgbClr val="000000"/>
                </a:solidFill>
                <a:latin typeface="ZEISS Frutiger Next UI W05"/>
              </a:rPr>
              <a:t> in </a:t>
            </a:r>
            <a:r>
              <a:rPr lang="de-DE" altLang="zh-TW" sz="1400" b="1" i="0" dirty="0" err="1">
                <a:solidFill>
                  <a:srgbClr val="000000"/>
                </a:solidFill>
                <a:effectLst/>
                <a:latin typeface="ZEISS Frutiger Next UI W05"/>
              </a:rPr>
              <a:t>analyzing</a:t>
            </a:r>
            <a:r>
              <a:rPr lang="de-DE" altLang="zh-TW" sz="1400" b="1" i="0" dirty="0">
                <a:solidFill>
                  <a:srgbClr val="000000"/>
                </a:solidFill>
                <a:effectLst/>
                <a:latin typeface="ZEISS Frutiger Next UI W05"/>
              </a:rPr>
              <a:t> and </a:t>
            </a:r>
            <a:r>
              <a:rPr lang="de-DE" altLang="zh-TW" sz="1400" b="1" i="0" dirty="0" err="1">
                <a:solidFill>
                  <a:srgbClr val="000000"/>
                </a:solidFill>
                <a:effectLst/>
                <a:latin typeface="ZEISS Frutiger Next UI W05"/>
              </a:rPr>
              <a:t>debugging</a:t>
            </a:r>
            <a:r>
              <a:rPr lang="de-DE" altLang="zh-TW" sz="1400" b="1" i="0" dirty="0">
                <a:solidFill>
                  <a:srgbClr val="000000"/>
                </a:solidFill>
                <a:effectLst/>
                <a:latin typeface="ZEISS Frutiger Next UI W05"/>
              </a:rPr>
              <a:t> </a:t>
            </a:r>
            <a:r>
              <a:rPr lang="de-DE" altLang="zh-TW" sz="1400" b="1" i="0" dirty="0" err="1">
                <a:solidFill>
                  <a:srgbClr val="000000"/>
                </a:solidFill>
                <a:effectLst/>
                <a:latin typeface="ZEISS Frutiger Next UI W05"/>
              </a:rPr>
              <a:t>issue</a:t>
            </a:r>
            <a:endParaRPr lang="de-DE" altLang="zh-TW" sz="1400" b="1" i="0" dirty="0">
              <a:solidFill>
                <a:srgbClr val="000000"/>
              </a:solidFill>
              <a:effectLst/>
              <a:latin typeface="ZEISS Frutiger Next UI W05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TW" sz="1400" b="0" i="0" dirty="0">
                <a:solidFill>
                  <a:srgbClr val="000000"/>
                </a:solidFill>
                <a:effectLst/>
                <a:latin typeface="ZEISS Frutiger Next UI W05"/>
              </a:rPr>
              <a:t>In helping users better understand the issue log and further analyze the operational data to know an overview of the system</a:t>
            </a:r>
            <a:endParaRPr lang="de-DE" altLang="zh-TW" sz="1400" b="0" i="0" dirty="0">
              <a:solidFill>
                <a:srgbClr val="000000"/>
              </a:solidFill>
              <a:effectLst/>
              <a:latin typeface="ZEISS Frutiger Next UI W05"/>
            </a:endParaRPr>
          </a:p>
          <a:p>
            <a:pPr>
              <a:spcAft>
                <a:spcPts val="800"/>
              </a:spcAft>
            </a:pPr>
            <a:r>
              <a:rPr lang="en-US" altLang="zh-TW" sz="1600" b="1" i="1" u="sng" dirty="0">
                <a:solidFill>
                  <a:srgbClr val="000000"/>
                </a:solidFill>
                <a:latin typeface="ZEISS Frutiger Next W1G"/>
              </a:rPr>
              <a:t>Features:</a:t>
            </a:r>
          </a:p>
          <a:p>
            <a:pPr marL="285750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de-DE" altLang="zh-TW" sz="1400" b="1" i="0" dirty="0">
                <a:solidFill>
                  <a:srgbClr val="000000"/>
                </a:solidFill>
                <a:effectLst/>
                <a:latin typeface="ZEISS Frutiger Next UI W05"/>
              </a:rPr>
              <a:t>Data </a:t>
            </a:r>
            <a:r>
              <a:rPr lang="de-DE" altLang="zh-TW" sz="1400" b="1" i="0" dirty="0" err="1">
                <a:solidFill>
                  <a:srgbClr val="000000"/>
                </a:solidFill>
                <a:effectLst/>
                <a:latin typeface="ZEISS Frutiger Next UI W05"/>
              </a:rPr>
              <a:t>parsing</a:t>
            </a:r>
            <a:endParaRPr lang="de-DE" altLang="zh-TW" sz="1400" b="1" i="0" dirty="0">
              <a:solidFill>
                <a:srgbClr val="000000"/>
              </a:solidFill>
              <a:effectLst/>
              <a:latin typeface="ZEISS Frutiger Next UI W05"/>
            </a:endParaRPr>
          </a:p>
          <a:p>
            <a:pPr marL="742950" lvl="1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altLang="zh-TW" sz="1400" dirty="0">
                <a:solidFill>
                  <a:srgbClr val="000000"/>
                </a:solidFill>
                <a:latin typeface="ZEISS Frutiger Next UI W05"/>
              </a:rPr>
              <a:t>Dedicated </a:t>
            </a:r>
            <a:r>
              <a:rPr lang="de-DE" altLang="zh-TW" sz="1400" dirty="0" err="1">
                <a:solidFill>
                  <a:srgbClr val="000000"/>
                </a:solidFill>
                <a:latin typeface="ZEISS Frutiger Next UI W05"/>
              </a:rPr>
              <a:t>for</a:t>
            </a:r>
            <a:r>
              <a:rPr lang="de-DE" altLang="zh-TW" sz="1400" dirty="0">
                <a:solidFill>
                  <a:srgbClr val="000000"/>
                </a:solidFill>
                <a:latin typeface="ZEISS Frutiger Next UI W05"/>
              </a:rPr>
              <a:t> MeRiT </a:t>
            </a:r>
            <a:r>
              <a:rPr lang="de-DE" altLang="zh-TW" sz="1400" dirty="0" err="1">
                <a:solidFill>
                  <a:srgbClr val="000000"/>
                </a:solidFill>
                <a:latin typeface="ZEISS Frutiger Next UI W05"/>
              </a:rPr>
              <a:t>Create</a:t>
            </a:r>
            <a:r>
              <a:rPr lang="de-DE" altLang="zh-TW" sz="1400" b="0" i="0" dirty="0" err="1">
                <a:solidFill>
                  <a:srgbClr val="000000"/>
                </a:solidFill>
                <a:effectLst/>
                <a:latin typeface="ZEISS Frutiger Next UI W05"/>
              </a:rPr>
              <a:t>SupportInfo</a:t>
            </a:r>
            <a:r>
              <a:rPr lang="de-DE" altLang="zh-TW" sz="1400" b="0" i="0" dirty="0">
                <a:solidFill>
                  <a:srgbClr val="000000"/>
                </a:solidFill>
                <a:effectLst/>
                <a:latin typeface="ZEISS Frutiger Next UI W05"/>
              </a:rPr>
              <a:t> log</a:t>
            </a:r>
            <a:endParaRPr lang="de-DE" altLang="zh-TW" sz="1400" b="1" dirty="0">
              <a:solidFill>
                <a:srgbClr val="000000"/>
              </a:solidFill>
              <a:latin typeface="ZEISS Frutiger Next UI W05"/>
            </a:endParaRPr>
          </a:p>
          <a:p>
            <a:pPr marL="742950" lvl="1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altLang="zh-TW" sz="1400" dirty="0">
                <a:solidFill>
                  <a:srgbClr val="000000"/>
                </a:solidFill>
                <a:latin typeface="ZEISS Frutiger Next UI W05"/>
              </a:rPr>
              <a:t>Support </a:t>
            </a:r>
            <a:r>
              <a:rPr lang="de-DE" altLang="zh-TW" sz="1400" dirty="0" err="1">
                <a:solidFill>
                  <a:srgbClr val="000000"/>
                </a:solidFill>
                <a:latin typeface="ZEISS Frutiger Next UI W05"/>
              </a:rPr>
              <a:t>formats</a:t>
            </a:r>
            <a:r>
              <a:rPr lang="de-DE" altLang="zh-TW" sz="1400" dirty="0">
                <a:solidFill>
                  <a:srgbClr val="000000"/>
                </a:solidFill>
                <a:latin typeface="ZEISS Frutiger Next UI W05"/>
              </a:rPr>
              <a:t> </a:t>
            </a:r>
            <a:r>
              <a:rPr lang="de-DE" altLang="zh-TW" sz="1400" dirty="0" err="1">
                <a:solidFill>
                  <a:srgbClr val="000000"/>
                </a:solidFill>
                <a:latin typeface="ZEISS Frutiger Next UI W05"/>
              </a:rPr>
              <a:t>of</a:t>
            </a:r>
            <a:r>
              <a:rPr lang="de-DE" altLang="zh-TW" sz="1400" dirty="0">
                <a:solidFill>
                  <a:srgbClr val="000000"/>
                </a:solidFill>
                <a:latin typeface="ZEISS Frutiger Next UI W05"/>
              </a:rPr>
              <a:t> log </a:t>
            </a:r>
            <a:r>
              <a:rPr lang="de-DE" altLang="zh-TW" sz="1400" dirty="0" err="1">
                <a:solidFill>
                  <a:srgbClr val="000000"/>
                </a:solidFill>
                <a:latin typeface="ZEISS Frutiger Next UI W05"/>
              </a:rPr>
              <a:t>files</a:t>
            </a:r>
            <a:r>
              <a:rPr lang="de-DE" altLang="zh-TW" sz="1400" dirty="0">
                <a:solidFill>
                  <a:srgbClr val="000000"/>
                </a:solidFill>
                <a:latin typeface="ZEISS Frutiger Next UI W05"/>
              </a:rPr>
              <a:t> </a:t>
            </a:r>
            <a:r>
              <a:rPr lang="de-DE" altLang="zh-TW" sz="1400" dirty="0" err="1">
                <a:solidFill>
                  <a:srgbClr val="000000"/>
                </a:solidFill>
                <a:latin typeface="ZEISS Frutiger Next UI W05"/>
              </a:rPr>
              <a:t>below</a:t>
            </a:r>
            <a:r>
              <a:rPr lang="de-DE" altLang="zh-TW" sz="1400" dirty="0">
                <a:solidFill>
                  <a:srgbClr val="000000"/>
                </a:solidFill>
                <a:latin typeface="ZEISS Frutiger Next UI W05"/>
              </a:rPr>
              <a:t> (</a:t>
            </a:r>
            <a:r>
              <a:rPr lang="de-DE" altLang="zh-TW" sz="1400" dirty="0" err="1">
                <a:solidFill>
                  <a:srgbClr val="000000"/>
                </a:solidFill>
                <a:latin typeface="ZEISS Frutiger Next UI W05"/>
              </a:rPr>
              <a:t>more</a:t>
            </a:r>
            <a:r>
              <a:rPr lang="de-DE" altLang="zh-TW" sz="1400" dirty="0">
                <a:solidFill>
                  <a:srgbClr val="000000"/>
                </a:solidFill>
                <a:latin typeface="ZEISS Frutiger Next UI W05"/>
              </a:rPr>
              <a:t> </a:t>
            </a:r>
            <a:r>
              <a:rPr lang="de-DE" altLang="zh-TW" sz="1400" dirty="0" err="1">
                <a:solidFill>
                  <a:srgbClr val="000000"/>
                </a:solidFill>
                <a:latin typeface="ZEISS Frutiger Next UI W05"/>
              </a:rPr>
              <a:t>types</a:t>
            </a:r>
            <a:r>
              <a:rPr lang="de-DE" altLang="zh-TW" sz="1400" dirty="0">
                <a:solidFill>
                  <a:srgbClr val="000000"/>
                </a:solidFill>
                <a:latin typeface="ZEISS Frutiger Next UI W05"/>
              </a:rPr>
              <a:t> support </a:t>
            </a:r>
            <a:r>
              <a:rPr lang="de-DE" altLang="zh-TW" sz="1400" dirty="0" err="1">
                <a:solidFill>
                  <a:srgbClr val="000000"/>
                </a:solidFill>
                <a:latin typeface="ZEISS Frutiger Next UI W05"/>
              </a:rPr>
              <a:t>is</a:t>
            </a:r>
            <a:r>
              <a:rPr lang="de-DE" altLang="zh-TW" sz="1400" dirty="0">
                <a:solidFill>
                  <a:srgbClr val="000000"/>
                </a:solidFill>
                <a:latin typeface="ZEISS Frutiger Next UI W05"/>
              </a:rPr>
              <a:t> possible in </a:t>
            </a:r>
            <a:r>
              <a:rPr lang="de-DE" altLang="zh-TW" sz="1400" dirty="0" err="1">
                <a:solidFill>
                  <a:srgbClr val="000000"/>
                </a:solidFill>
                <a:latin typeface="ZEISS Frutiger Next UI W05"/>
              </a:rPr>
              <a:t>the</a:t>
            </a:r>
            <a:r>
              <a:rPr lang="de-DE" altLang="zh-TW" sz="1400" dirty="0">
                <a:solidFill>
                  <a:srgbClr val="000000"/>
                </a:solidFill>
                <a:latin typeface="ZEISS Frutiger Next UI W05"/>
              </a:rPr>
              <a:t> </a:t>
            </a:r>
            <a:r>
              <a:rPr lang="de-DE" altLang="zh-TW" sz="1400" dirty="0" err="1">
                <a:solidFill>
                  <a:srgbClr val="000000"/>
                </a:solidFill>
                <a:latin typeface="ZEISS Frutiger Next UI W05"/>
              </a:rPr>
              <a:t>future</a:t>
            </a:r>
            <a:r>
              <a:rPr lang="de-DE" altLang="zh-TW" sz="1400" dirty="0">
                <a:solidFill>
                  <a:srgbClr val="000000"/>
                </a:solidFill>
                <a:latin typeface="ZEISS Frutiger Next UI W05"/>
              </a:rPr>
              <a:t>)</a:t>
            </a:r>
          </a:p>
          <a:p>
            <a:pPr marL="1200150" lvl="2" indent="-285750">
              <a:spcAft>
                <a:spcPts val="800"/>
              </a:spcAft>
              <a:buFont typeface="Wingdings" panose="05000000000000000000" pitchFamily="2" charset="2"/>
              <a:buChar char="ü"/>
            </a:pPr>
            <a:r>
              <a:rPr lang="de-DE" altLang="zh-TW" sz="1400" dirty="0">
                <a:solidFill>
                  <a:srgbClr val="000000"/>
                </a:solidFill>
                <a:latin typeface="ZEISS Frutiger Next UI W05"/>
              </a:rPr>
              <a:t>LogService.txt, Install.txt, mjnxtdebug.log, Protocol.txt, and ProcessLog.csv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altLang="zh-TW" sz="1400" b="1" i="0" dirty="0">
                <a:solidFill>
                  <a:srgbClr val="000000"/>
                </a:solidFill>
                <a:effectLst/>
                <a:latin typeface="ZEISS Frutiger Next UI W05"/>
              </a:rPr>
              <a:t>Data </a:t>
            </a:r>
            <a:r>
              <a:rPr lang="de-DE" altLang="zh-TW" sz="1400" b="1" i="0" dirty="0" err="1">
                <a:solidFill>
                  <a:srgbClr val="000000"/>
                </a:solidFill>
                <a:effectLst/>
                <a:latin typeface="ZEISS Frutiger Next UI W05"/>
              </a:rPr>
              <a:t>Visualization</a:t>
            </a:r>
            <a:endParaRPr lang="de-DE" altLang="zh-TW" sz="1400" b="1" i="0" dirty="0">
              <a:solidFill>
                <a:srgbClr val="000000"/>
              </a:solidFill>
              <a:effectLst/>
              <a:latin typeface="ZEISS Frutiger Next UI W05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TW" sz="1400" b="0" i="0" dirty="0">
                <a:solidFill>
                  <a:srgbClr val="000000"/>
                </a:solidFill>
                <a:effectLst/>
                <a:latin typeface="ZEISS Frutiger Next UI W05"/>
              </a:rPr>
              <a:t>Provide multiple chart generation options</a:t>
            </a:r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altLang="zh-TW" sz="1400" b="0" i="0" dirty="0">
                <a:solidFill>
                  <a:srgbClr val="000000"/>
                </a:solidFill>
                <a:effectLst/>
                <a:latin typeface="ZEISS Frutiger Next UI W05"/>
              </a:rPr>
              <a:t>including </a:t>
            </a:r>
            <a:r>
              <a:rPr lang="en-US" altLang="zh-TW" sz="1400" b="0" i="0" u="sng" dirty="0">
                <a:solidFill>
                  <a:srgbClr val="000000"/>
                </a:solidFill>
                <a:effectLst/>
                <a:latin typeface="ZEISS Frutiger Next UI W05"/>
              </a:rPr>
              <a:t>load/unload time charts</a:t>
            </a:r>
            <a:r>
              <a:rPr lang="en-US" altLang="zh-TW" sz="1400" b="0" i="0" dirty="0">
                <a:solidFill>
                  <a:srgbClr val="000000"/>
                </a:solidFill>
                <a:effectLst/>
                <a:latin typeface="ZEISS Frutiger Next UI W05"/>
              </a:rPr>
              <a:t>, </a:t>
            </a:r>
            <a:r>
              <a:rPr lang="en-US" altLang="zh-TW" sz="1400" b="0" i="0" u="sng" dirty="0">
                <a:solidFill>
                  <a:srgbClr val="000000"/>
                </a:solidFill>
                <a:effectLst/>
                <a:latin typeface="ZEISS Frutiger Next UI W05"/>
              </a:rPr>
              <a:t>duration charts</a:t>
            </a:r>
            <a:r>
              <a:rPr lang="en-US" altLang="zh-TW" sz="1400" b="0" i="0" dirty="0">
                <a:solidFill>
                  <a:srgbClr val="000000"/>
                </a:solidFill>
                <a:effectLst/>
                <a:latin typeface="ZEISS Frutiger Next UI W05"/>
              </a:rPr>
              <a:t>, </a:t>
            </a:r>
            <a:r>
              <a:rPr lang="en-US" altLang="zh-TW" sz="1400" b="0" i="0" u="sng" dirty="0">
                <a:solidFill>
                  <a:srgbClr val="000000"/>
                </a:solidFill>
                <a:effectLst/>
                <a:latin typeface="ZEISS Frutiger Next UI W05"/>
              </a:rPr>
              <a:t>CTR</a:t>
            </a:r>
            <a:r>
              <a:rPr lang="en-US" altLang="zh-TW" sz="1400" b="0" i="0" dirty="0">
                <a:solidFill>
                  <a:srgbClr val="000000"/>
                </a:solidFill>
                <a:effectLst/>
                <a:latin typeface="ZEISS Frutiger Next UI W05"/>
              </a:rPr>
              <a:t>, and </a:t>
            </a:r>
            <a:r>
              <a:rPr lang="en-US" altLang="zh-TW" sz="1400" b="0" i="0" u="sng" dirty="0">
                <a:solidFill>
                  <a:srgbClr val="000000"/>
                </a:solidFill>
                <a:effectLst/>
                <a:latin typeface="ZEISS Frutiger Next UI W05"/>
              </a:rPr>
              <a:t>protocol trend chart</a:t>
            </a:r>
            <a:r>
              <a:rPr lang="en-US" altLang="zh-TW" sz="1400" b="0" i="0" dirty="0">
                <a:solidFill>
                  <a:srgbClr val="000000"/>
                </a:solidFill>
                <a:effectLst/>
                <a:latin typeface="ZEISS Frutiger Next UI W05"/>
              </a:rPr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TW" sz="1400" b="0" i="0" dirty="0">
                <a:solidFill>
                  <a:srgbClr val="000000"/>
                </a:solidFill>
                <a:effectLst/>
                <a:latin typeface="ZEISS Frutiger Next UI W05"/>
              </a:rPr>
              <a:t>Visualize open/close status of valves, aiding users in grasping the MSC statu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altLang="zh-TW" sz="1400" b="1" i="0" dirty="0">
                <a:solidFill>
                  <a:srgbClr val="000000"/>
                </a:solidFill>
                <a:effectLst/>
                <a:latin typeface="ZEISS Frutiger Next UI W05"/>
              </a:rPr>
              <a:t>Data Export (Excel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altLang="zh-TW" sz="1400" i="0" dirty="0" err="1">
                <a:solidFill>
                  <a:srgbClr val="000000"/>
                </a:solidFill>
                <a:effectLst/>
                <a:latin typeface="ZEISS Frutiger Next UI W05"/>
              </a:rPr>
              <a:t>For</a:t>
            </a:r>
            <a:r>
              <a:rPr lang="de-DE" altLang="zh-TW" sz="1400" i="0" dirty="0">
                <a:solidFill>
                  <a:srgbClr val="000000"/>
                </a:solidFill>
                <a:effectLst/>
                <a:latin typeface="ZEISS Frutiger Next UI W05"/>
              </a:rPr>
              <a:t> post-analysis and </a:t>
            </a:r>
            <a:r>
              <a:rPr lang="de-DE" altLang="zh-TW" sz="1400" i="0" dirty="0" err="1">
                <a:solidFill>
                  <a:srgbClr val="000000"/>
                </a:solidFill>
                <a:effectLst/>
                <a:latin typeface="ZEISS Frutiger Next UI W05"/>
              </a:rPr>
              <a:t>data</a:t>
            </a:r>
            <a:r>
              <a:rPr lang="de-DE" altLang="zh-TW" sz="1400" i="0" dirty="0">
                <a:solidFill>
                  <a:srgbClr val="000000"/>
                </a:solidFill>
                <a:effectLst/>
                <a:latin typeface="ZEISS Frutiger Next UI W05"/>
              </a:rPr>
              <a:t> </a:t>
            </a:r>
            <a:r>
              <a:rPr lang="de-DE" altLang="zh-TW" sz="1400" i="0" dirty="0" err="1">
                <a:solidFill>
                  <a:srgbClr val="000000"/>
                </a:solidFill>
                <a:effectLst/>
                <a:latin typeface="ZEISS Frutiger Next UI W05"/>
              </a:rPr>
              <a:t>storage</a:t>
            </a:r>
            <a:endParaRPr lang="de-DE" altLang="zh-TW" sz="1400" i="0" dirty="0">
              <a:solidFill>
                <a:srgbClr val="000000"/>
              </a:solidFill>
              <a:effectLst/>
              <a:latin typeface="ZEISS Frutiger Next UI W05"/>
            </a:endParaRPr>
          </a:p>
          <a:p>
            <a:endParaRPr lang="de-DE" altLang="zh-TW" sz="1400" b="1" i="0" dirty="0">
              <a:solidFill>
                <a:srgbClr val="000000"/>
              </a:solidFill>
              <a:effectLst/>
              <a:latin typeface="ZEISS Frutiger Next UI W05"/>
            </a:endParaRPr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53BF24D6-DA7A-ACC8-C66E-045313A565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45510" y="1378824"/>
            <a:ext cx="857370" cy="866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195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237E57-8391-60AC-5366-D4BE9E2B51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圖片 7">
            <a:extLst>
              <a:ext uri="{FF2B5EF4-FFF2-40B4-BE49-F238E27FC236}">
                <a16:creationId xmlns:a16="http://schemas.microsoft.com/office/drawing/2014/main" id="{5C3CC2A9-966F-C99C-F068-1442B3340E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0622" y="1067606"/>
            <a:ext cx="6937976" cy="5552690"/>
          </a:xfrm>
          <a:prstGeom prst="rect">
            <a:avLst/>
          </a:prstGeom>
        </p:spPr>
      </p:pic>
      <p:sp>
        <p:nvSpPr>
          <p:cNvPr id="2" name="標題 1">
            <a:extLst>
              <a:ext uri="{FF2B5EF4-FFF2-40B4-BE49-F238E27FC236}">
                <a16:creationId xmlns:a16="http://schemas.microsoft.com/office/drawing/2014/main" id="{38AF51AA-43CB-1541-423B-31AF5835F3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altLang="zh-TW" dirty="0"/>
              <a:t>GUI Layout Introduction</a:t>
            </a:r>
            <a:endParaRPr lang="zh-TW" altLang="en-US" dirty="0"/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22A5290B-5E79-4772-7CA9-65C416AD037F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endParaRPr lang="zh-TW" altLang="en-US" dirty="0"/>
          </a:p>
          <a:p>
            <a:endParaRPr lang="zh-TW" altLang="en-US" dirty="0"/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1EE43769-75F2-688D-434B-1EEE0B249527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6B5D4719-FA56-0356-997B-6CE8489057C4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D6240A90-E7E2-99D5-2FEF-5D7DD7BB22AC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12" name="文字方塊 11">
            <a:extLst>
              <a:ext uri="{FF2B5EF4-FFF2-40B4-BE49-F238E27FC236}">
                <a16:creationId xmlns:a16="http://schemas.microsoft.com/office/drawing/2014/main" id="{8E051DB4-E267-D116-5419-03AD697BAD5F}"/>
              </a:ext>
            </a:extLst>
          </p:cNvPr>
          <p:cNvSpPr txBox="1"/>
          <p:nvPr/>
        </p:nvSpPr>
        <p:spPr>
          <a:xfrm>
            <a:off x="6181050" y="1771030"/>
            <a:ext cx="1642150" cy="307777"/>
          </a:xfrm>
          <a:prstGeom prst="rect">
            <a:avLst/>
          </a:prstGeom>
          <a:noFill/>
          <a:ln w="15875">
            <a:solidFill>
              <a:srgbClr val="00B050"/>
            </a:solidFill>
          </a:ln>
        </p:spPr>
        <p:txBody>
          <a:bodyPr wrap="square" rtlCol="0">
            <a:spAutoFit/>
          </a:bodyPr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L="342900" indent="-342900">
              <a:buFont typeface="Wingdings" panose="05000000000000000000" pitchFamily="2" charset="2"/>
              <a:buAutoNum type="circleNumWdWhitePlain" startAt="2"/>
              <a:defRPr sz="1400"/>
            </a:lvl1pPr>
          </a:lstStyle>
          <a:p>
            <a:pPr>
              <a:buFont typeface="Wingdings" panose="05000000000000000000" pitchFamily="2" charset="2"/>
              <a:buAutoNum type="circleNumWdWhitePlain" startAt="4"/>
            </a:pPr>
            <a:r>
              <a:rPr lang="en-US" altLang="zh-TW" b="1" dirty="0"/>
              <a:t>Display panel</a:t>
            </a:r>
            <a:endParaRPr lang="zh-TW" altLang="en-US" b="1" dirty="0"/>
          </a:p>
        </p:txBody>
      </p:sp>
      <p:sp>
        <p:nvSpPr>
          <p:cNvPr id="19" name="文字方塊 18">
            <a:extLst>
              <a:ext uri="{FF2B5EF4-FFF2-40B4-BE49-F238E27FC236}">
                <a16:creationId xmlns:a16="http://schemas.microsoft.com/office/drawing/2014/main" id="{2B3DBBFA-9C0A-D29C-A4C4-3C52AC22AA8E}"/>
              </a:ext>
            </a:extLst>
          </p:cNvPr>
          <p:cNvSpPr txBox="1"/>
          <p:nvPr/>
        </p:nvSpPr>
        <p:spPr>
          <a:xfrm>
            <a:off x="240771" y="1895849"/>
            <a:ext cx="1283396" cy="523220"/>
          </a:xfrm>
          <a:prstGeom prst="rect">
            <a:avLst/>
          </a:prstGeom>
          <a:noFill/>
          <a:ln w="158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AutoNum type="circleNumWdWhitePlain" startAt="2"/>
            </a:pPr>
            <a:r>
              <a:rPr lang="en-US" altLang="zh-TW" sz="1400" b="1" dirty="0"/>
              <a:t>Function tab</a:t>
            </a:r>
            <a:endParaRPr lang="zh-TW" altLang="en-US" sz="1400" b="1" dirty="0"/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76BCFC82-6BBC-759B-AACB-F627BED54A8A}"/>
              </a:ext>
            </a:extLst>
          </p:cNvPr>
          <p:cNvSpPr txBox="1"/>
          <p:nvPr/>
        </p:nvSpPr>
        <p:spPr>
          <a:xfrm>
            <a:off x="8814832" y="1419249"/>
            <a:ext cx="3136397" cy="40113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altLang="zh-TW" sz="1600" b="1" i="1" u="sng" dirty="0">
                <a:solidFill>
                  <a:srgbClr val="000000"/>
                </a:solidFill>
                <a:latin typeface="ZEISS Frutiger Next W1G"/>
              </a:rPr>
              <a:t>Tool layout introduction</a:t>
            </a:r>
            <a:r>
              <a:rPr kumimoji="0" lang="en-US" altLang="zh-TW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:</a:t>
            </a:r>
          </a:p>
          <a:p>
            <a:pPr marL="342900" indent="-342900">
              <a:buFont typeface="Wingdings" panose="05000000000000000000" pitchFamily="2" charset="2"/>
              <a:buAutoNum type="circleNumWdWhitePlain"/>
            </a:pPr>
            <a:r>
              <a:rPr lang="en-US" altLang="zh-TW" sz="1400" b="1" dirty="0"/>
              <a:t>Menu bar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File - log path select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Log – log type select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About – version information</a:t>
            </a:r>
          </a:p>
          <a:p>
            <a:pPr marL="342900" indent="-342900">
              <a:buFont typeface="Wingdings" panose="05000000000000000000" pitchFamily="2" charset="2"/>
              <a:buAutoNum type="circleNumWdWhitePlain"/>
            </a:pPr>
            <a:r>
              <a:rPr lang="en-US" altLang="zh-TW" sz="1400" b="1" dirty="0"/>
              <a:t>Function tab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Work flow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Mask ID analysis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Install log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MSC info</a:t>
            </a:r>
          </a:p>
          <a:p>
            <a:pPr marL="342900" indent="-342900">
              <a:buFont typeface="Wingdings" panose="05000000000000000000" pitchFamily="2" charset="2"/>
              <a:buAutoNum type="circleNumWdWhitePlain"/>
            </a:pPr>
            <a:r>
              <a:rPr lang="en-US" altLang="zh-TW" sz="1400" b="1" dirty="0"/>
              <a:t>Log path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zh-TW" sz="1400" dirty="0"/>
              <a:t>Selected file path</a:t>
            </a:r>
          </a:p>
          <a:p>
            <a:pPr marL="342900" indent="-342900">
              <a:buFont typeface="Wingdings" panose="05000000000000000000" pitchFamily="2" charset="2"/>
              <a:buAutoNum type="circleNumWdWhitePlain"/>
            </a:pPr>
            <a:r>
              <a:rPr lang="en-US" altLang="zh-TW" sz="1400" b="1" dirty="0"/>
              <a:t>Display panel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Parsed information</a:t>
            </a:r>
          </a:p>
          <a:p>
            <a:pPr marL="342900" indent="-342900">
              <a:buFont typeface="Wingdings" panose="05000000000000000000" pitchFamily="2" charset="2"/>
              <a:buAutoNum type="circleNumWdWhitePlain"/>
            </a:pPr>
            <a:r>
              <a:rPr lang="en-US" altLang="zh-TW" sz="1400" b="1" dirty="0"/>
              <a:t>Status panel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Information notice</a:t>
            </a:r>
          </a:p>
          <a:p>
            <a:pPr marL="342900" indent="-342900">
              <a:buFont typeface="Wingdings" panose="05000000000000000000" pitchFamily="2" charset="2"/>
              <a:buAutoNum type="circleNumWdWhitePlain"/>
            </a:pPr>
            <a:r>
              <a:rPr lang="en-US" altLang="zh-TW" sz="1400" b="1" dirty="0"/>
              <a:t>Progress bar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Parsing progress</a:t>
            </a:r>
          </a:p>
        </p:txBody>
      </p:sp>
      <p:sp>
        <p:nvSpPr>
          <p:cNvPr id="22" name="文字方塊 21">
            <a:extLst>
              <a:ext uri="{FF2B5EF4-FFF2-40B4-BE49-F238E27FC236}">
                <a16:creationId xmlns:a16="http://schemas.microsoft.com/office/drawing/2014/main" id="{106C60FE-5ACE-E56A-0633-790DA0891DBD}"/>
              </a:ext>
            </a:extLst>
          </p:cNvPr>
          <p:cNvSpPr txBox="1"/>
          <p:nvPr/>
        </p:nvSpPr>
        <p:spPr>
          <a:xfrm>
            <a:off x="4810432" y="1300163"/>
            <a:ext cx="1285568" cy="307777"/>
          </a:xfrm>
          <a:prstGeom prst="rect">
            <a:avLst/>
          </a:prstGeom>
          <a:noFill/>
          <a:ln w="15875">
            <a:solidFill>
              <a:srgbClr val="00B050"/>
            </a:solidFill>
          </a:ln>
        </p:spPr>
        <p:txBody>
          <a:bodyPr wrap="square" rtlCol="0">
            <a:spAutoFit/>
          </a:bodyPr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L="342900" indent="-342900">
              <a:buFont typeface="Wingdings" panose="05000000000000000000" pitchFamily="2" charset="2"/>
              <a:buAutoNum type="circleNumWdWhitePlain" startAt="2"/>
              <a:defRPr sz="1400"/>
            </a:lvl1pPr>
          </a:lstStyle>
          <a:p>
            <a:pPr>
              <a:buFont typeface="Wingdings" panose="05000000000000000000" pitchFamily="2" charset="2"/>
              <a:buAutoNum type="circleNumWdWhitePlain" startAt="3"/>
            </a:pPr>
            <a:r>
              <a:rPr lang="en-US" altLang="zh-TW" b="1" dirty="0"/>
              <a:t>Log path </a:t>
            </a:r>
            <a:endParaRPr lang="zh-TW" altLang="en-US" b="1" dirty="0"/>
          </a:p>
        </p:txBody>
      </p:sp>
      <p:cxnSp>
        <p:nvCxnSpPr>
          <p:cNvPr id="23" name="直線接點 22">
            <a:extLst>
              <a:ext uri="{FF2B5EF4-FFF2-40B4-BE49-F238E27FC236}">
                <a16:creationId xmlns:a16="http://schemas.microsoft.com/office/drawing/2014/main" id="{9C097F73-1239-CA60-9EDD-EE96BBA8611B}"/>
              </a:ext>
            </a:extLst>
          </p:cNvPr>
          <p:cNvCxnSpPr>
            <a:cxnSpLocks/>
            <a:stCxn id="16" idx="1"/>
            <a:endCxn id="36" idx="3"/>
          </p:cNvCxnSpPr>
          <p:nvPr/>
        </p:nvCxnSpPr>
        <p:spPr>
          <a:xfrm flipH="1">
            <a:off x="2605377" y="1340184"/>
            <a:ext cx="396979" cy="843"/>
          </a:xfrm>
          <a:prstGeom prst="line">
            <a:avLst/>
          </a:prstGeom>
          <a:ln w="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矩形 28">
            <a:extLst>
              <a:ext uri="{FF2B5EF4-FFF2-40B4-BE49-F238E27FC236}">
                <a16:creationId xmlns:a16="http://schemas.microsoft.com/office/drawing/2014/main" id="{DDE52F86-975A-D4C4-25B4-D83004F8DCB2}"/>
              </a:ext>
            </a:extLst>
          </p:cNvPr>
          <p:cNvSpPr/>
          <p:nvPr/>
        </p:nvSpPr>
        <p:spPr>
          <a:xfrm>
            <a:off x="1676798" y="2284809"/>
            <a:ext cx="6749169" cy="2636349"/>
          </a:xfrm>
          <a:prstGeom prst="rect">
            <a:avLst/>
          </a:prstGeom>
          <a:noFill/>
          <a:ln w="158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zh-TW" altLang="en-US" sz="1600" dirty="0">
              <a:solidFill>
                <a:srgbClr val="000000"/>
              </a:solidFill>
              <a:latin typeface="ZEISS Frutiger Next W1G"/>
            </a:endParaRP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291AD4FE-9678-8E9E-2A4C-AAFC10891774}"/>
              </a:ext>
            </a:extLst>
          </p:cNvPr>
          <p:cNvSpPr/>
          <p:nvPr/>
        </p:nvSpPr>
        <p:spPr>
          <a:xfrm>
            <a:off x="1658040" y="1262805"/>
            <a:ext cx="947337" cy="156444"/>
          </a:xfrm>
          <a:prstGeom prst="rect">
            <a:avLst/>
          </a:prstGeom>
          <a:noFill/>
          <a:ln w="158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961870DC-62E5-0A9F-5DE2-83B2D4C296E5}"/>
              </a:ext>
            </a:extLst>
          </p:cNvPr>
          <p:cNvSpPr/>
          <p:nvPr/>
        </p:nvSpPr>
        <p:spPr>
          <a:xfrm>
            <a:off x="1676799" y="1836638"/>
            <a:ext cx="3199999" cy="194966"/>
          </a:xfrm>
          <a:prstGeom prst="rect">
            <a:avLst/>
          </a:prstGeom>
          <a:noFill/>
          <a:ln w="158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zh-TW" altLang="en-US" sz="1600" dirty="0">
              <a:solidFill>
                <a:srgbClr val="000000"/>
              </a:solidFill>
              <a:latin typeface="ZEISS Frutiger Next W1G"/>
            </a:endParaRPr>
          </a:p>
        </p:txBody>
      </p:sp>
      <p:cxnSp>
        <p:nvCxnSpPr>
          <p:cNvPr id="38" name="直線接點 37">
            <a:extLst>
              <a:ext uri="{FF2B5EF4-FFF2-40B4-BE49-F238E27FC236}">
                <a16:creationId xmlns:a16="http://schemas.microsoft.com/office/drawing/2014/main" id="{2CCE8BE3-56CE-3DD3-63E0-F146D605B2AD}"/>
              </a:ext>
            </a:extLst>
          </p:cNvPr>
          <p:cNvCxnSpPr>
            <a:cxnSpLocks/>
            <a:stCxn id="22" idx="2"/>
            <a:endCxn id="37" idx="3"/>
          </p:cNvCxnSpPr>
          <p:nvPr/>
        </p:nvCxnSpPr>
        <p:spPr>
          <a:xfrm flipH="1">
            <a:off x="4876798" y="1607940"/>
            <a:ext cx="576418" cy="326181"/>
          </a:xfrm>
          <a:prstGeom prst="line">
            <a:avLst/>
          </a:prstGeom>
          <a:ln w="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線接點 48">
            <a:extLst>
              <a:ext uri="{FF2B5EF4-FFF2-40B4-BE49-F238E27FC236}">
                <a16:creationId xmlns:a16="http://schemas.microsoft.com/office/drawing/2014/main" id="{2C3EE2AB-C731-9AEF-C6A5-B0FCF0609535}"/>
              </a:ext>
            </a:extLst>
          </p:cNvPr>
          <p:cNvCxnSpPr>
            <a:cxnSpLocks/>
            <a:stCxn id="29" idx="0"/>
            <a:endCxn id="12" idx="1"/>
          </p:cNvCxnSpPr>
          <p:nvPr/>
        </p:nvCxnSpPr>
        <p:spPr>
          <a:xfrm flipV="1">
            <a:off x="5051383" y="1924919"/>
            <a:ext cx="1129667" cy="359890"/>
          </a:xfrm>
          <a:prstGeom prst="line">
            <a:avLst/>
          </a:prstGeom>
          <a:ln w="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文字方塊 15">
            <a:extLst>
              <a:ext uri="{FF2B5EF4-FFF2-40B4-BE49-F238E27FC236}">
                <a16:creationId xmlns:a16="http://schemas.microsoft.com/office/drawing/2014/main" id="{0960503E-EEEC-71F6-0CCA-ED06C567BF1D}"/>
              </a:ext>
            </a:extLst>
          </p:cNvPr>
          <p:cNvSpPr txBox="1"/>
          <p:nvPr/>
        </p:nvSpPr>
        <p:spPr>
          <a:xfrm>
            <a:off x="3002356" y="1186295"/>
            <a:ext cx="1408311" cy="307777"/>
          </a:xfrm>
          <a:prstGeom prst="rect">
            <a:avLst/>
          </a:prstGeom>
          <a:noFill/>
          <a:ln w="15875">
            <a:solidFill>
              <a:srgbClr val="00B050"/>
            </a:solidFill>
          </a:ln>
        </p:spPr>
        <p:txBody>
          <a:bodyPr wrap="square" rtlCol="0">
            <a:spAutoFit/>
          </a:bodyPr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L="342900" indent="-342900">
              <a:buFont typeface="Wingdings" panose="05000000000000000000" pitchFamily="2" charset="2"/>
              <a:buAutoNum type="circleNumWdWhitePlain" startAt="2"/>
              <a:defRPr sz="1400"/>
            </a:lvl1pPr>
          </a:lstStyle>
          <a:p>
            <a:pPr>
              <a:buFont typeface="Wingdings" panose="05000000000000000000" pitchFamily="2" charset="2"/>
              <a:buAutoNum type="circleNumWdWhitePlain"/>
            </a:pPr>
            <a:r>
              <a:rPr lang="en-US" altLang="zh-TW" b="1" dirty="0"/>
              <a:t>Menu bar</a:t>
            </a:r>
            <a:endParaRPr lang="zh-TW" altLang="en-US" b="1" dirty="0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47027DF7-499A-6C49-724D-FC4A517F139E}"/>
              </a:ext>
            </a:extLst>
          </p:cNvPr>
          <p:cNvSpPr/>
          <p:nvPr/>
        </p:nvSpPr>
        <p:spPr>
          <a:xfrm>
            <a:off x="1676800" y="2060366"/>
            <a:ext cx="2094012" cy="194966"/>
          </a:xfrm>
          <a:prstGeom prst="rect">
            <a:avLst/>
          </a:prstGeom>
          <a:noFill/>
          <a:ln w="158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cxnSp>
        <p:nvCxnSpPr>
          <p:cNvPr id="33" name="直線接點 32">
            <a:extLst>
              <a:ext uri="{FF2B5EF4-FFF2-40B4-BE49-F238E27FC236}">
                <a16:creationId xmlns:a16="http://schemas.microsoft.com/office/drawing/2014/main" id="{9D68A4FD-1FFB-D1FC-A356-760080D4BC4E}"/>
              </a:ext>
            </a:extLst>
          </p:cNvPr>
          <p:cNvCxnSpPr>
            <a:cxnSpLocks/>
            <a:stCxn id="30" idx="1"/>
            <a:endCxn id="19" idx="3"/>
          </p:cNvCxnSpPr>
          <p:nvPr/>
        </p:nvCxnSpPr>
        <p:spPr>
          <a:xfrm flipH="1" flipV="1">
            <a:off x="1524167" y="2157459"/>
            <a:ext cx="152633" cy="390"/>
          </a:xfrm>
          <a:prstGeom prst="line">
            <a:avLst/>
          </a:prstGeom>
          <a:ln w="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文字方塊 72">
            <a:extLst>
              <a:ext uri="{FF2B5EF4-FFF2-40B4-BE49-F238E27FC236}">
                <a16:creationId xmlns:a16="http://schemas.microsoft.com/office/drawing/2014/main" id="{24E1C264-8064-FA69-A328-81DFDA0C694A}"/>
              </a:ext>
            </a:extLst>
          </p:cNvPr>
          <p:cNvSpPr txBox="1"/>
          <p:nvPr/>
        </p:nvSpPr>
        <p:spPr>
          <a:xfrm>
            <a:off x="304194" y="6068439"/>
            <a:ext cx="1038681" cy="523220"/>
          </a:xfrm>
          <a:prstGeom prst="rect">
            <a:avLst/>
          </a:prstGeom>
          <a:noFill/>
          <a:ln w="15875">
            <a:solidFill>
              <a:srgbClr val="00B050"/>
            </a:solidFill>
          </a:ln>
        </p:spPr>
        <p:txBody>
          <a:bodyPr wrap="square" rtlCol="0">
            <a:spAutoFit/>
          </a:bodyPr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L="342900" indent="-342900">
              <a:buFont typeface="Wingdings" panose="05000000000000000000" pitchFamily="2" charset="2"/>
              <a:buAutoNum type="circleNumWdWhitePlain" startAt="2"/>
              <a:defRPr sz="1400"/>
            </a:lvl1pPr>
          </a:lstStyle>
          <a:p>
            <a:pPr>
              <a:buFont typeface="Wingdings" panose="05000000000000000000" pitchFamily="2" charset="2"/>
              <a:buAutoNum type="circleNumWdWhitePlain" startAt="5"/>
            </a:pPr>
            <a:r>
              <a:rPr lang="en-US" altLang="zh-TW" b="1" dirty="0"/>
              <a:t>Status panel</a:t>
            </a:r>
            <a:endParaRPr lang="zh-TW" altLang="en-US" b="1" dirty="0"/>
          </a:p>
        </p:txBody>
      </p:sp>
      <p:sp>
        <p:nvSpPr>
          <p:cNvPr id="74" name="矩形 73">
            <a:extLst>
              <a:ext uri="{FF2B5EF4-FFF2-40B4-BE49-F238E27FC236}">
                <a16:creationId xmlns:a16="http://schemas.microsoft.com/office/drawing/2014/main" id="{84E914FF-262E-68C3-CA54-5E5E4D7644FA}"/>
              </a:ext>
            </a:extLst>
          </p:cNvPr>
          <p:cNvSpPr/>
          <p:nvPr/>
        </p:nvSpPr>
        <p:spPr>
          <a:xfrm>
            <a:off x="1676799" y="6424997"/>
            <a:ext cx="517761" cy="218053"/>
          </a:xfrm>
          <a:prstGeom prst="rect">
            <a:avLst/>
          </a:prstGeom>
          <a:noFill/>
          <a:ln w="158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zh-TW" altLang="en-US" sz="1600" dirty="0">
              <a:solidFill>
                <a:srgbClr val="000000"/>
              </a:solidFill>
              <a:latin typeface="ZEISS Frutiger Next W1G"/>
            </a:endParaRPr>
          </a:p>
        </p:txBody>
      </p:sp>
      <p:cxnSp>
        <p:nvCxnSpPr>
          <p:cNvPr id="75" name="直線接點 74">
            <a:extLst>
              <a:ext uri="{FF2B5EF4-FFF2-40B4-BE49-F238E27FC236}">
                <a16:creationId xmlns:a16="http://schemas.microsoft.com/office/drawing/2014/main" id="{5D882C5D-B080-D031-AA95-9BF705C64431}"/>
              </a:ext>
            </a:extLst>
          </p:cNvPr>
          <p:cNvCxnSpPr>
            <a:cxnSpLocks/>
            <a:stCxn id="73" idx="3"/>
            <a:endCxn id="74" idx="1"/>
          </p:cNvCxnSpPr>
          <p:nvPr/>
        </p:nvCxnSpPr>
        <p:spPr>
          <a:xfrm>
            <a:off x="1342875" y="6330049"/>
            <a:ext cx="333924" cy="203975"/>
          </a:xfrm>
          <a:prstGeom prst="line">
            <a:avLst/>
          </a:prstGeom>
          <a:ln w="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文字方塊 81">
            <a:extLst>
              <a:ext uri="{FF2B5EF4-FFF2-40B4-BE49-F238E27FC236}">
                <a16:creationId xmlns:a16="http://schemas.microsoft.com/office/drawing/2014/main" id="{12FE4BCC-8C8C-9529-C8D2-0A1309168E48}"/>
              </a:ext>
            </a:extLst>
          </p:cNvPr>
          <p:cNvSpPr txBox="1"/>
          <p:nvPr/>
        </p:nvSpPr>
        <p:spPr>
          <a:xfrm>
            <a:off x="3396446" y="6166575"/>
            <a:ext cx="1859045" cy="307777"/>
          </a:xfrm>
          <a:prstGeom prst="rect">
            <a:avLst/>
          </a:prstGeom>
          <a:noFill/>
          <a:ln w="15875">
            <a:solidFill>
              <a:srgbClr val="00B050"/>
            </a:solidFill>
          </a:ln>
        </p:spPr>
        <p:txBody>
          <a:bodyPr wrap="square" rtlCol="0">
            <a:spAutoFit/>
          </a:bodyPr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L="342900" indent="-342900">
              <a:buFont typeface="Wingdings" panose="05000000000000000000" pitchFamily="2" charset="2"/>
              <a:buAutoNum type="circleNumWdWhitePlain" startAt="2"/>
              <a:defRPr sz="1400"/>
            </a:lvl1pPr>
          </a:lstStyle>
          <a:p>
            <a:pPr>
              <a:buFont typeface="Wingdings" panose="05000000000000000000" pitchFamily="2" charset="2"/>
              <a:buAutoNum type="circleNumWdWhitePlain" startAt="6"/>
            </a:pPr>
            <a:r>
              <a:rPr lang="en-US" altLang="zh-TW" b="1" dirty="0"/>
              <a:t>Progress status </a:t>
            </a:r>
            <a:endParaRPr lang="zh-TW" altLang="en-US" b="1" dirty="0"/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A691BDDC-FA77-6B5A-8293-5861B1E306BF}"/>
              </a:ext>
            </a:extLst>
          </p:cNvPr>
          <p:cNvSpPr/>
          <p:nvPr/>
        </p:nvSpPr>
        <p:spPr>
          <a:xfrm>
            <a:off x="2163239" y="6215146"/>
            <a:ext cx="710590" cy="209852"/>
          </a:xfrm>
          <a:prstGeom prst="rect">
            <a:avLst/>
          </a:prstGeom>
          <a:noFill/>
          <a:ln w="158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</a:pPr>
            <a:endParaRPr lang="zh-TW" altLang="en-US" sz="1600" dirty="0">
              <a:solidFill>
                <a:srgbClr val="000000"/>
              </a:solidFill>
              <a:latin typeface="ZEISS Frutiger Next W1G"/>
            </a:endParaRPr>
          </a:p>
        </p:txBody>
      </p:sp>
      <p:cxnSp>
        <p:nvCxnSpPr>
          <p:cNvPr id="84" name="直線接點 83">
            <a:extLst>
              <a:ext uri="{FF2B5EF4-FFF2-40B4-BE49-F238E27FC236}">
                <a16:creationId xmlns:a16="http://schemas.microsoft.com/office/drawing/2014/main" id="{52F91B98-06A6-C209-A817-C6C1150A8594}"/>
              </a:ext>
            </a:extLst>
          </p:cNvPr>
          <p:cNvCxnSpPr>
            <a:cxnSpLocks/>
            <a:stCxn id="83" idx="3"/>
            <a:endCxn id="82" idx="1"/>
          </p:cNvCxnSpPr>
          <p:nvPr/>
        </p:nvCxnSpPr>
        <p:spPr>
          <a:xfrm>
            <a:off x="2873829" y="6320072"/>
            <a:ext cx="522617" cy="392"/>
          </a:xfrm>
          <a:prstGeom prst="line">
            <a:avLst/>
          </a:prstGeom>
          <a:ln w="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2654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D69B60-2250-0D87-56B7-CFFBAF953B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B2D035FE-4DE9-9A07-42FB-7A5DD42755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altLang="zh-TW" dirty="0"/>
              <a:t>Log Parsing Operation</a:t>
            </a:r>
            <a:endParaRPr lang="zh-TW" altLang="en-US" dirty="0"/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F890E2BD-699B-6862-88C5-0381C9F151EC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altLang="zh-TW" dirty="0"/>
              <a:t>Select log (1)</a:t>
            </a:r>
            <a:endParaRPr lang="zh-TW" altLang="en-US" dirty="0"/>
          </a:p>
          <a:p>
            <a:endParaRPr lang="zh-TW" altLang="en-US" dirty="0"/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89DC1B88-3DFC-841B-495D-23CA5D6F2829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6E624353-C6D3-811C-2E65-ED9BDCBAAA52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0018F463-630B-E8BF-86B6-1A3D87A2CEFD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4586B88D-671B-766B-4AD6-1392D2AD3CEF}"/>
              </a:ext>
            </a:extLst>
          </p:cNvPr>
          <p:cNvSpPr txBox="1"/>
          <p:nvPr/>
        </p:nvSpPr>
        <p:spPr>
          <a:xfrm>
            <a:off x="8850940" y="1468620"/>
            <a:ext cx="3136397" cy="9951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altLang="zh-TW" sz="16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Log path select (method 1)</a:t>
            </a:r>
            <a:r>
              <a:rPr kumimoji="0" lang="en-US" altLang="zh-TW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TW" sz="1400" dirty="0"/>
              <a:t>Menu bar -&gt; File -&gt; Open Folder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TW" sz="1400" dirty="0"/>
              <a:t>The path name will be shown after selected</a:t>
            </a:r>
          </a:p>
        </p:txBody>
      </p:sp>
      <p:pic>
        <p:nvPicPr>
          <p:cNvPr id="19" name="圖片 18">
            <a:extLst>
              <a:ext uri="{FF2B5EF4-FFF2-40B4-BE49-F238E27FC236}">
                <a16:creationId xmlns:a16="http://schemas.microsoft.com/office/drawing/2014/main" id="{C5957011-63AF-E0D1-491D-6114DB7705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6859" y="1087857"/>
            <a:ext cx="6902245" cy="5524094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083FE9F0-9734-397E-E818-B948A74B7F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1609" y="2414495"/>
            <a:ext cx="5235805" cy="2949983"/>
          </a:xfrm>
          <a:prstGeom prst="rect">
            <a:avLst/>
          </a:prstGeom>
        </p:spPr>
      </p:pic>
      <p:cxnSp>
        <p:nvCxnSpPr>
          <p:cNvPr id="11" name="直線單箭頭接點 10">
            <a:extLst>
              <a:ext uri="{FF2B5EF4-FFF2-40B4-BE49-F238E27FC236}">
                <a16:creationId xmlns:a16="http://schemas.microsoft.com/office/drawing/2014/main" id="{F4405C84-BB6D-6A3E-769F-38B5306939B9}"/>
              </a:ext>
            </a:extLst>
          </p:cNvPr>
          <p:cNvCxnSpPr/>
          <p:nvPr/>
        </p:nvCxnSpPr>
        <p:spPr>
          <a:xfrm>
            <a:off x="2420983" y="1576251"/>
            <a:ext cx="548640" cy="83824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矩形 11">
            <a:extLst>
              <a:ext uri="{FF2B5EF4-FFF2-40B4-BE49-F238E27FC236}">
                <a16:creationId xmlns:a16="http://schemas.microsoft.com/office/drawing/2014/main" id="{219229E7-A889-755C-8843-EE3705D7305B}"/>
              </a:ext>
            </a:extLst>
          </p:cNvPr>
          <p:cNvSpPr/>
          <p:nvPr/>
        </p:nvSpPr>
        <p:spPr>
          <a:xfrm>
            <a:off x="6525800" y="5058949"/>
            <a:ext cx="660091" cy="233487"/>
          </a:xfrm>
          <a:prstGeom prst="rect">
            <a:avLst/>
          </a:prstGeom>
          <a:noFill/>
          <a:ln w="15875">
            <a:solidFill>
              <a:srgbClr val="FF1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4" name="文字方塊 13">
            <a:extLst>
              <a:ext uri="{FF2B5EF4-FFF2-40B4-BE49-F238E27FC236}">
                <a16:creationId xmlns:a16="http://schemas.microsoft.com/office/drawing/2014/main" id="{93465FD8-384C-9D13-4CAB-C5F846E92848}"/>
              </a:ext>
            </a:extLst>
          </p:cNvPr>
          <p:cNvSpPr txBox="1"/>
          <p:nvPr/>
        </p:nvSpPr>
        <p:spPr>
          <a:xfrm>
            <a:off x="5236201" y="1863026"/>
            <a:ext cx="194968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altLang="zh-TW" sz="1600" dirty="0">
                <a:latin typeface="ZEISS Frutiger Next W1G"/>
              </a:rPr>
              <a:t>log </a:t>
            </a:r>
            <a:r>
              <a:rPr kumimoji="0" lang="en-US" altLang="zh-TW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ZEISS Frutiger Next W1G"/>
                <a:ea typeface="+mn-ea"/>
                <a:cs typeface="+mn-cs"/>
              </a:rPr>
              <a:t>path after selected  </a:t>
            </a:r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cxnSp>
        <p:nvCxnSpPr>
          <p:cNvPr id="15" name="直線單箭頭接點 14">
            <a:extLst>
              <a:ext uri="{FF2B5EF4-FFF2-40B4-BE49-F238E27FC236}">
                <a16:creationId xmlns:a16="http://schemas.microsoft.com/office/drawing/2014/main" id="{7446E387-85C2-CF67-6AAA-B2FBA7A6DE67}"/>
              </a:ext>
            </a:extLst>
          </p:cNvPr>
          <p:cNvCxnSpPr>
            <a:cxnSpLocks/>
            <a:stCxn id="14" idx="1"/>
          </p:cNvCxnSpPr>
          <p:nvPr/>
        </p:nvCxnSpPr>
        <p:spPr>
          <a:xfrm flipH="1" flipV="1">
            <a:off x="4913745" y="1986136"/>
            <a:ext cx="322456" cy="1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01371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FBE00D-CFCE-8FC0-AE4F-B2AF3CD9B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圖片 9">
            <a:extLst>
              <a:ext uri="{FF2B5EF4-FFF2-40B4-BE49-F238E27FC236}">
                <a16:creationId xmlns:a16="http://schemas.microsoft.com/office/drawing/2014/main" id="{21E4B674-FCBC-78FF-C67A-2CF77D2801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7011" y="1070196"/>
            <a:ext cx="6946379" cy="5559416"/>
          </a:xfrm>
          <a:prstGeom prst="rect">
            <a:avLst/>
          </a:prstGeom>
        </p:spPr>
      </p:pic>
      <p:sp>
        <p:nvSpPr>
          <p:cNvPr id="2" name="標題 1">
            <a:extLst>
              <a:ext uri="{FF2B5EF4-FFF2-40B4-BE49-F238E27FC236}">
                <a16:creationId xmlns:a16="http://schemas.microsoft.com/office/drawing/2014/main" id="{4BBBBB58-7FC2-1F57-B136-DCAA76F6C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altLang="zh-TW" dirty="0"/>
              <a:t>Log Parsing Operation</a:t>
            </a:r>
            <a:endParaRPr lang="zh-TW" altLang="en-US" dirty="0"/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6418B81D-4598-8FF5-10F9-434DF289102F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altLang="zh-TW" dirty="0"/>
              <a:t>Select log (2)</a:t>
            </a:r>
            <a:endParaRPr lang="zh-TW" altLang="en-US" dirty="0"/>
          </a:p>
          <a:p>
            <a:endParaRPr lang="zh-TW" altLang="en-US" dirty="0"/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A2DD66C1-7106-FE5C-B7C1-700AB15D85F5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7D11366E-4123-58E3-515C-CC512FD47537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868F5CF3-11DE-25FE-838C-671D3B841F41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2B5E14ED-EB96-C075-5D10-C8B1EEBFE83D}"/>
              </a:ext>
            </a:extLst>
          </p:cNvPr>
          <p:cNvSpPr txBox="1"/>
          <p:nvPr/>
        </p:nvSpPr>
        <p:spPr>
          <a:xfrm>
            <a:off x="8850940" y="1468620"/>
            <a:ext cx="3136397" cy="9951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altLang="zh-TW" sz="16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Log path select (method 2)</a:t>
            </a:r>
            <a:r>
              <a:rPr kumimoji="0" lang="en-US" altLang="zh-TW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TW" sz="1400" dirty="0"/>
              <a:t>Tree view -&gt; Navigate the file path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TW" sz="1400" dirty="0"/>
              <a:t>The path name will be shown after selected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75F83F45-405D-C715-B9FF-618E903F0034}"/>
              </a:ext>
            </a:extLst>
          </p:cNvPr>
          <p:cNvSpPr/>
          <p:nvPr/>
        </p:nvSpPr>
        <p:spPr>
          <a:xfrm>
            <a:off x="1804402" y="4901931"/>
            <a:ext cx="4042216" cy="1313214"/>
          </a:xfrm>
          <a:prstGeom prst="rect">
            <a:avLst/>
          </a:prstGeom>
          <a:noFill/>
          <a:ln w="15875">
            <a:solidFill>
              <a:srgbClr val="FF1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DEEB75D9-C66E-B00A-3007-486BAAF2A96F}"/>
              </a:ext>
            </a:extLst>
          </p:cNvPr>
          <p:cNvSpPr/>
          <p:nvPr/>
        </p:nvSpPr>
        <p:spPr>
          <a:xfrm>
            <a:off x="1813639" y="5964113"/>
            <a:ext cx="532398" cy="159596"/>
          </a:xfrm>
          <a:prstGeom prst="rect">
            <a:avLst/>
          </a:prstGeom>
          <a:noFill/>
          <a:ln w="15875">
            <a:solidFill>
              <a:srgbClr val="FF1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5" name="文字方塊 14">
            <a:extLst>
              <a:ext uri="{FF2B5EF4-FFF2-40B4-BE49-F238E27FC236}">
                <a16:creationId xmlns:a16="http://schemas.microsoft.com/office/drawing/2014/main" id="{88F934D8-C462-8AC2-195C-D54B8040C62B}"/>
              </a:ext>
            </a:extLst>
          </p:cNvPr>
          <p:cNvSpPr txBox="1"/>
          <p:nvPr/>
        </p:nvSpPr>
        <p:spPr>
          <a:xfrm>
            <a:off x="5245437" y="1853790"/>
            <a:ext cx="211594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altLang="zh-TW" sz="1600" dirty="0">
                <a:latin typeface="ZEISS Frutiger Next W1G"/>
              </a:rPr>
              <a:t>log </a:t>
            </a:r>
            <a:r>
              <a:rPr kumimoji="0" lang="en-US" altLang="zh-TW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ZEISS Frutiger Next W1G"/>
                <a:ea typeface="+mn-ea"/>
                <a:cs typeface="+mn-cs"/>
              </a:rPr>
              <a:t>path after selected   </a:t>
            </a:r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cxnSp>
        <p:nvCxnSpPr>
          <p:cNvPr id="16" name="直線單箭頭接點 15">
            <a:extLst>
              <a:ext uri="{FF2B5EF4-FFF2-40B4-BE49-F238E27FC236}">
                <a16:creationId xmlns:a16="http://schemas.microsoft.com/office/drawing/2014/main" id="{9D48566C-6101-F3E5-EE20-1EBC2B117A78}"/>
              </a:ext>
            </a:extLst>
          </p:cNvPr>
          <p:cNvCxnSpPr>
            <a:cxnSpLocks/>
            <a:stCxn id="15" idx="1"/>
          </p:cNvCxnSpPr>
          <p:nvPr/>
        </p:nvCxnSpPr>
        <p:spPr>
          <a:xfrm flipH="1" flipV="1">
            <a:off x="4922981" y="1976900"/>
            <a:ext cx="322456" cy="1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14232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0E1ABD-45F5-B114-DB9C-5EEE809F23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圖片 8">
            <a:extLst>
              <a:ext uri="{FF2B5EF4-FFF2-40B4-BE49-F238E27FC236}">
                <a16:creationId xmlns:a16="http://schemas.microsoft.com/office/drawing/2014/main" id="{55D09262-0CE6-1DEA-3750-1F338BE3D1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7011" y="1070196"/>
            <a:ext cx="6946379" cy="5559415"/>
          </a:xfrm>
          <a:prstGeom prst="rect">
            <a:avLst/>
          </a:prstGeom>
        </p:spPr>
      </p:pic>
      <p:sp>
        <p:nvSpPr>
          <p:cNvPr id="2" name="標題 1">
            <a:extLst>
              <a:ext uri="{FF2B5EF4-FFF2-40B4-BE49-F238E27FC236}">
                <a16:creationId xmlns:a16="http://schemas.microsoft.com/office/drawing/2014/main" id="{17FF67F3-B261-6EC1-313C-F56F9EE833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altLang="zh-TW" dirty="0"/>
              <a:t>Log Parsing Operation </a:t>
            </a:r>
            <a:endParaRPr lang="zh-TW" altLang="en-US" dirty="0"/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739A728B-04CE-E592-3AA1-487AED349009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altLang="zh-TW" dirty="0"/>
              <a:t>Select log type</a:t>
            </a:r>
            <a:endParaRPr lang="zh-TW" altLang="en-US" dirty="0"/>
          </a:p>
          <a:p>
            <a:endParaRPr lang="zh-TW" altLang="en-US" dirty="0"/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AC57A58E-4E3C-18B1-53A7-49BB49608619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069AF4A6-BE53-2EDD-F5E1-3F40A8E37516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A75BAFD1-4733-6ABD-AF46-0EAA291FFBCE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47B1F04D-8AAF-A330-AEB0-CFAA8156AB53}"/>
              </a:ext>
            </a:extLst>
          </p:cNvPr>
          <p:cNvSpPr txBox="1"/>
          <p:nvPr/>
        </p:nvSpPr>
        <p:spPr>
          <a:xfrm>
            <a:off x="8850940" y="1468620"/>
            <a:ext cx="3136397" cy="16414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altLang="zh-TW" sz="1600" b="1" i="1" u="sng" dirty="0">
                <a:solidFill>
                  <a:srgbClr val="000000"/>
                </a:solidFill>
                <a:latin typeface="ZEISS Frutiger Next W1G"/>
              </a:rPr>
              <a:t>File type</a:t>
            </a:r>
            <a:r>
              <a:rPr kumimoji="0" lang="en-US" altLang="zh-TW" sz="16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 select</a:t>
            </a:r>
            <a:r>
              <a:rPr kumimoji="0" lang="en-US" altLang="zh-TW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TW" sz="1400" dirty="0"/>
              <a:t>Menu bar -&gt; Log -&gt; choose the type below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 err="1"/>
              <a:t>LogService</a:t>
            </a:r>
            <a:endParaRPr lang="en-US" altLang="zh-TW" sz="14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Install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 err="1"/>
              <a:t>mjnxtdebug</a:t>
            </a:r>
            <a:endParaRPr lang="en-US" altLang="zh-TW" sz="14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Protocol</a:t>
            </a:r>
          </a:p>
        </p:txBody>
      </p:sp>
      <p:sp>
        <p:nvSpPr>
          <p:cNvPr id="15" name="文字方塊 14">
            <a:extLst>
              <a:ext uri="{FF2B5EF4-FFF2-40B4-BE49-F238E27FC236}">
                <a16:creationId xmlns:a16="http://schemas.microsoft.com/office/drawing/2014/main" id="{D7E7D732-1079-9CA3-C58F-C4882B544E39}"/>
              </a:ext>
            </a:extLst>
          </p:cNvPr>
          <p:cNvSpPr txBox="1"/>
          <p:nvPr/>
        </p:nvSpPr>
        <p:spPr>
          <a:xfrm>
            <a:off x="3140259" y="1598689"/>
            <a:ext cx="21983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altLang="zh-TW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ZEISS Frutiger Next W1G"/>
                <a:ea typeface="+mn-ea"/>
                <a:cs typeface="+mn-cs"/>
              </a:rPr>
              <a:t>Current supported type</a:t>
            </a:r>
            <a:r>
              <a:rPr lang="en-US" altLang="zh-TW" sz="1600" dirty="0">
                <a:latin typeface="ZEISS Frutiger Next W1G"/>
              </a:rPr>
              <a:t>s</a:t>
            </a:r>
            <a:r>
              <a:rPr kumimoji="0" lang="en-US" altLang="zh-TW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ZEISS Frutiger Next W1G"/>
                <a:ea typeface="+mn-ea"/>
                <a:cs typeface="+mn-cs"/>
              </a:rPr>
              <a:t>   </a:t>
            </a:r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cxnSp>
        <p:nvCxnSpPr>
          <p:cNvPr id="16" name="直線單箭頭接點 15">
            <a:extLst>
              <a:ext uri="{FF2B5EF4-FFF2-40B4-BE49-F238E27FC236}">
                <a16:creationId xmlns:a16="http://schemas.microsoft.com/office/drawing/2014/main" id="{DA078D58-9620-7B36-8D46-72D1FC63DFDA}"/>
              </a:ext>
            </a:extLst>
          </p:cNvPr>
          <p:cNvCxnSpPr>
            <a:cxnSpLocks/>
            <a:stCxn id="15" idx="1"/>
          </p:cNvCxnSpPr>
          <p:nvPr/>
        </p:nvCxnSpPr>
        <p:spPr>
          <a:xfrm flipH="1">
            <a:off x="2835564" y="1721800"/>
            <a:ext cx="304695" cy="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6703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998EE1-0182-08B9-C156-08028A27D1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圖片 9">
            <a:extLst>
              <a:ext uri="{FF2B5EF4-FFF2-40B4-BE49-F238E27FC236}">
                <a16:creationId xmlns:a16="http://schemas.microsoft.com/office/drawing/2014/main" id="{57010383-9253-50EF-8C6E-5166E3E3E42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7010" y="1082326"/>
            <a:ext cx="6946379" cy="5559416"/>
          </a:xfrm>
          <a:prstGeom prst="rect">
            <a:avLst/>
          </a:prstGeom>
        </p:spPr>
      </p:pic>
      <p:sp>
        <p:nvSpPr>
          <p:cNvPr id="2" name="標題 1">
            <a:extLst>
              <a:ext uri="{FF2B5EF4-FFF2-40B4-BE49-F238E27FC236}">
                <a16:creationId xmlns:a16="http://schemas.microsoft.com/office/drawing/2014/main" id="{BD067BCC-0939-06F4-2F97-64A16F866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altLang="zh-TW" dirty="0"/>
              <a:t>Log Parsing Operation </a:t>
            </a:r>
            <a:endParaRPr lang="zh-TW" altLang="en-US" dirty="0"/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82257343-1312-94B2-2619-3B3F6CCD848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altLang="zh-TW" dirty="0"/>
              <a:t>Parse log file</a:t>
            </a:r>
            <a:endParaRPr lang="zh-TW" altLang="en-US" dirty="0"/>
          </a:p>
          <a:p>
            <a:endParaRPr lang="zh-TW" altLang="en-US" dirty="0"/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FCA68AF8-A355-BDC2-14A2-C0EEFC280A50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4344E931-AA92-C886-B412-2496A9577F75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E4A32B73-F479-D3E8-FA16-36860F91B824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7DED617F-C8B4-D3B8-99FA-8DB7F9C6A217}"/>
              </a:ext>
            </a:extLst>
          </p:cNvPr>
          <p:cNvSpPr txBox="1"/>
          <p:nvPr/>
        </p:nvSpPr>
        <p:spPr>
          <a:xfrm>
            <a:off x="8850940" y="1468620"/>
            <a:ext cx="3136397" cy="3365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altLang="zh-TW" sz="16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Log file parse</a:t>
            </a:r>
            <a:r>
              <a:rPr kumimoji="0" lang="en-US" altLang="zh-TW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TW" sz="1400" dirty="0"/>
              <a:t>Press “Process” butt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TW" sz="1400" dirty="0"/>
              <a:t>Through the </a:t>
            </a:r>
            <a:r>
              <a:rPr lang="en-US" altLang="zh-TW" sz="1400" u="sng" dirty="0"/>
              <a:t>status panel</a:t>
            </a:r>
            <a:r>
              <a:rPr lang="en-US" altLang="zh-TW" sz="1400" dirty="0"/>
              <a:t> to check if the file parsing is successful or no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TW" sz="1400" dirty="0"/>
              <a:t>If parsing is completed, the window will pop out</a:t>
            </a:r>
          </a:p>
          <a:p>
            <a:endParaRPr lang="en-US" altLang="zh-TW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TW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TW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TW" sz="1400" dirty="0"/>
          </a:p>
          <a:p>
            <a:endParaRPr lang="en-US" altLang="zh-TW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TW" sz="1400" dirty="0"/>
              <a:t>If the error occurs, panel will show the error message and window pop out accordingl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TW" sz="1400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DF1CF8B5-E824-2FF0-3307-8F327B724B5D}"/>
              </a:ext>
            </a:extLst>
          </p:cNvPr>
          <p:cNvSpPr/>
          <p:nvPr/>
        </p:nvSpPr>
        <p:spPr>
          <a:xfrm>
            <a:off x="1773382" y="6215145"/>
            <a:ext cx="471056" cy="268782"/>
          </a:xfrm>
          <a:prstGeom prst="rect">
            <a:avLst/>
          </a:prstGeom>
          <a:noFill/>
          <a:ln w="15875">
            <a:solidFill>
              <a:srgbClr val="FF1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2" name="文字方塊 11">
            <a:extLst>
              <a:ext uri="{FF2B5EF4-FFF2-40B4-BE49-F238E27FC236}">
                <a16:creationId xmlns:a16="http://schemas.microsoft.com/office/drawing/2014/main" id="{BCF0C8DA-1F8D-7C46-F93F-D3A7FADDFF6C}"/>
              </a:ext>
            </a:extLst>
          </p:cNvPr>
          <p:cNvSpPr txBox="1"/>
          <p:nvPr/>
        </p:nvSpPr>
        <p:spPr>
          <a:xfrm>
            <a:off x="2997457" y="6312146"/>
            <a:ext cx="149633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altLang="zh-TW" sz="1600" dirty="0">
                <a:latin typeface="ZEISS Frutiger Next W1G"/>
              </a:rPr>
              <a:t>Press “Process”</a:t>
            </a:r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pic>
        <p:nvPicPr>
          <p:cNvPr id="18" name="圖片 17">
            <a:extLst>
              <a:ext uri="{FF2B5EF4-FFF2-40B4-BE49-F238E27FC236}">
                <a16:creationId xmlns:a16="http://schemas.microsoft.com/office/drawing/2014/main" id="{476F02D1-02D2-4ACA-F2D4-9120DBF02E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13561" y="4663291"/>
            <a:ext cx="3142857" cy="838095"/>
          </a:xfrm>
          <a:prstGeom prst="rect">
            <a:avLst/>
          </a:prstGeom>
        </p:spPr>
      </p:pic>
      <p:cxnSp>
        <p:nvCxnSpPr>
          <p:cNvPr id="7" name="直線單箭頭接點 6">
            <a:extLst>
              <a:ext uri="{FF2B5EF4-FFF2-40B4-BE49-F238E27FC236}">
                <a16:creationId xmlns:a16="http://schemas.microsoft.com/office/drawing/2014/main" id="{FE169F57-AD33-9EFA-D4C0-604A8DE504CB}"/>
              </a:ext>
            </a:extLst>
          </p:cNvPr>
          <p:cNvCxnSpPr>
            <a:cxnSpLocks/>
            <a:stCxn id="12" idx="1"/>
          </p:cNvCxnSpPr>
          <p:nvPr/>
        </p:nvCxnSpPr>
        <p:spPr>
          <a:xfrm flipH="1">
            <a:off x="2244438" y="6435257"/>
            <a:ext cx="753019" cy="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圖片 16">
            <a:extLst>
              <a:ext uri="{FF2B5EF4-FFF2-40B4-BE49-F238E27FC236}">
                <a16:creationId xmlns:a16="http://schemas.microsoft.com/office/drawing/2014/main" id="{5B66EA1A-1ED2-1199-1C61-BA593A909B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35782" y="2921579"/>
            <a:ext cx="1175380" cy="92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777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BB9CAF-20E9-F4B0-A8B3-3B6F72227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圖片 7">
            <a:extLst>
              <a:ext uri="{FF2B5EF4-FFF2-40B4-BE49-F238E27FC236}">
                <a16:creationId xmlns:a16="http://schemas.microsoft.com/office/drawing/2014/main" id="{C6BCDBE0-36AA-CC59-9DFF-8AF4A57E6D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0622" y="1067606"/>
            <a:ext cx="6937976" cy="5552690"/>
          </a:xfrm>
          <a:prstGeom prst="rect">
            <a:avLst/>
          </a:prstGeom>
        </p:spPr>
      </p:pic>
      <p:sp>
        <p:nvSpPr>
          <p:cNvPr id="2" name="標題 1">
            <a:extLst>
              <a:ext uri="{FF2B5EF4-FFF2-40B4-BE49-F238E27FC236}">
                <a16:creationId xmlns:a16="http://schemas.microsoft.com/office/drawing/2014/main" id="{6ABD7C55-0981-2E25-BF4B-68074F933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en-US" altLang="zh-TW" dirty="0"/>
              <a:t>Work Flow</a:t>
            </a:r>
            <a:endParaRPr lang="zh-TW" altLang="en-US" dirty="0"/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8AFE56BA-E39F-D12B-85F1-836E534867C0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altLang="zh-TW" dirty="0"/>
              <a:t>Function introduction</a:t>
            </a:r>
            <a:endParaRPr lang="zh-TW" altLang="en-US" dirty="0"/>
          </a:p>
          <a:p>
            <a:endParaRPr lang="zh-TW" altLang="en-US" dirty="0"/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303EA93B-CF73-FA74-921D-632A9ABCDA66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F61A4A5C-8962-06B0-FD36-6E3020103643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27AC5A2D-43CC-0048-CFF4-D43C0662A90A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7230D05D-4200-EEFA-E8B9-90162F6BCAF3}"/>
              </a:ext>
            </a:extLst>
          </p:cNvPr>
          <p:cNvSpPr txBox="1"/>
          <p:nvPr/>
        </p:nvSpPr>
        <p:spPr>
          <a:xfrm>
            <a:off x="171476" y="2665313"/>
            <a:ext cx="1219201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ZEISS Frutiger Next W1G"/>
              </a:defRPr>
            </a:lvl1pPr>
          </a:lstStyle>
          <a:p>
            <a:pPr marL="342900" indent="-342900">
              <a:buFont typeface="Wingdings" panose="05000000000000000000" pitchFamily="2" charset="2"/>
              <a:buAutoNum type="circleNumWdWhitePlain"/>
            </a:pPr>
            <a:r>
              <a:rPr lang="en-US" altLang="zh-TW" dirty="0"/>
              <a:t>Load/Unload information display area</a:t>
            </a:r>
            <a:endParaRPr lang="zh-TW" altLang="en-US" dirty="0"/>
          </a:p>
        </p:txBody>
      </p:sp>
      <p:cxnSp>
        <p:nvCxnSpPr>
          <p:cNvPr id="14" name="直線單箭頭接點 13">
            <a:extLst>
              <a:ext uri="{FF2B5EF4-FFF2-40B4-BE49-F238E27FC236}">
                <a16:creationId xmlns:a16="http://schemas.microsoft.com/office/drawing/2014/main" id="{A32A4A98-3403-1649-4BDD-7B0751BB235B}"/>
              </a:ext>
            </a:extLst>
          </p:cNvPr>
          <p:cNvCxnSpPr>
            <a:cxnSpLocks/>
          </p:cNvCxnSpPr>
          <p:nvPr/>
        </p:nvCxnSpPr>
        <p:spPr>
          <a:xfrm>
            <a:off x="4249783" y="2862896"/>
            <a:ext cx="859827" cy="550203"/>
          </a:xfrm>
          <a:prstGeom prst="straightConnector1">
            <a:avLst/>
          </a:prstGeom>
          <a:ln w="15875">
            <a:solidFill>
              <a:srgbClr val="FF1A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F3CAE0E3-5DC9-644C-1C48-42D4DF9CDD1C}"/>
              </a:ext>
            </a:extLst>
          </p:cNvPr>
          <p:cNvSpPr txBox="1"/>
          <p:nvPr/>
        </p:nvSpPr>
        <p:spPr>
          <a:xfrm>
            <a:off x="8720569" y="1444453"/>
            <a:ext cx="3136397" cy="20723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-US" altLang="zh-TW" sz="1600" b="1" i="1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WorkFlow</a:t>
            </a:r>
            <a:r>
              <a:rPr kumimoji="0" lang="en-US" altLang="zh-TW" sz="16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 Tab</a:t>
            </a:r>
            <a:r>
              <a:rPr kumimoji="0" lang="en-US" altLang="zh-TW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:</a:t>
            </a:r>
          </a:p>
          <a:p>
            <a:pPr marL="342900" indent="-342900">
              <a:buFont typeface="Wingdings" panose="05000000000000000000" pitchFamily="2" charset="2"/>
              <a:buAutoNum type="circleNumWdWhitePlain"/>
            </a:pPr>
            <a:r>
              <a:rPr lang="en-US" altLang="zh-TW" sz="1400" dirty="0"/>
              <a:t>Load / Unload information area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Loaded / Unloaded timestamp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Load / Unload cost time</a:t>
            </a:r>
          </a:p>
          <a:p>
            <a:pPr marL="342900" indent="-342900">
              <a:buFont typeface="Wingdings" panose="05000000000000000000" pitchFamily="2" charset="2"/>
              <a:buAutoNum type="circleNumWdWhitePlain"/>
            </a:pPr>
            <a:r>
              <a:rPr lang="en-US" altLang="zh-TW" sz="1400" dirty="0"/>
              <a:t>Workflow steps area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Depending on the selected item of left area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Display work steps for the specific mask</a:t>
            </a:r>
            <a:r>
              <a:rPr lang="zh-TW" altLang="en-US" sz="1400" dirty="0"/>
              <a:t> </a:t>
            </a:r>
            <a:r>
              <a:rPr lang="en-US" altLang="zh-TW" sz="1400" dirty="0"/>
              <a:t>ID</a:t>
            </a:r>
          </a:p>
        </p:txBody>
      </p:sp>
      <p:cxnSp>
        <p:nvCxnSpPr>
          <p:cNvPr id="26" name="直線接點 25">
            <a:extLst>
              <a:ext uri="{FF2B5EF4-FFF2-40B4-BE49-F238E27FC236}">
                <a16:creationId xmlns:a16="http://schemas.microsoft.com/office/drawing/2014/main" id="{3226E862-C4AB-84EF-B58F-FC4BCDEBBC6C}"/>
              </a:ext>
            </a:extLst>
          </p:cNvPr>
          <p:cNvCxnSpPr>
            <a:cxnSpLocks/>
            <a:stCxn id="11" idx="3"/>
          </p:cNvCxnSpPr>
          <p:nvPr/>
        </p:nvCxnSpPr>
        <p:spPr>
          <a:xfrm flipV="1">
            <a:off x="1390677" y="3034645"/>
            <a:ext cx="286122" cy="246221"/>
          </a:xfrm>
          <a:prstGeom prst="line">
            <a:avLst/>
          </a:prstGeom>
          <a:ln w="0">
            <a:solidFill>
              <a:srgbClr val="FF1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矩形 28">
            <a:extLst>
              <a:ext uri="{FF2B5EF4-FFF2-40B4-BE49-F238E27FC236}">
                <a16:creationId xmlns:a16="http://schemas.microsoft.com/office/drawing/2014/main" id="{3731FDE3-35F0-A2CC-410A-2AE93C542542}"/>
              </a:ext>
            </a:extLst>
          </p:cNvPr>
          <p:cNvSpPr/>
          <p:nvPr/>
        </p:nvSpPr>
        <p:spPr>
          <a:xfrm>
            <a:off x="1676799" y="2284809"/>
            <a:ext cx="3200000" cy="2636349"/>
          </a:xfrm>
          <a:prstGeom prst="rect">
            <a:avLst/>
          </a:prstGeom>
          <a:noFill/>
          <a:ln w="15875">
            <a:solidFill>
              <a:srgbClr val="FF1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A221D346-8812-0014-9D9B-378453F2029A}"/>
              </a:ext>
            </a:extLst>
          </p:cNvPr>
          <p:cNvSpPr/>
          <p:nvPr/>
        </p:nvSpPr>
        <p:spPr>
          <a:xfrm>
            <a:off x="5001300" y="2284809"/>
            <a:ext cx="3428598" cy="2636350"/>
          </a:xfrm>
          <a:prstGeom prst="rect">
            <a:avLst/>
          </a:prstGeom>
          <a:noFill/>
          <a:ln w="15875">
            <a:solidFill>
              <a:srgbClr val="FF1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CBA6B96A-39C4-0B77-354C-58F84E861CFE}"/>
              </a:ext>
            </a:extLst>
          </p:cNvPr>
          <p:cNvSpPr txBox="1"/>
          <p:nvPr/>
        </p:nvSpPr>
        <p:spPr>
          <a:xfrm>
            <a:off x="6185793" y="1556299"/>
            <a:ext cx="165588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ZEISS Frutiger Next W1G"/>
              </a:defRPr>
            </a:lvl1pPr>
          </a:lstStyle>
          <a:p>
            <a:pPr marL="342900" indent="-342900">
              <a:buFont typeface="Wingdings" panose="05000000000000000000" pitchFamily="2" charset="2"/>
              <a:buAutoNum type="circleNumWdWhitePlain" startAt="2"/>
            </a:pPr>
            <a:r>
              <a:rPr lang="en-US" altLang="zh-TW" dirty="0"/>
              <a:t>Work steps display area</a:t>
            </a:r>
            <a:endParaRPr lang="zh-TW" altLang="en-US" dirty="0"/>
          </a:p>
        </p:txBody>
      </p:sp>
      <p:cxnSp>
        <p:nvCxnSpPr>
          <p:cNvPr id="9" name="直線接點 8">
            <a:extLst>
              <a:ext uri="{FF2B5EF4-FFF2-40B4-BE49-F238E27FC236}">
                <a16:creationId xmlns:a16="http://schemas.microsoft.com/office/drawing/2014/main" id="{F7D830C4-3CDE-21A9-A6E5-B3C5B8E969D5}"/>
              </a:ext>
            </a:extLst>
          </p:cNvPr>
          <p:cNvCxnSpPr>
            <a:cxnSpLocks/>
            <a:stCxn id="7" idx="2"/>
            <a:endCxn id="41" idx="0"/>
          </p:cNvCxnSpPr>
          <p:nvPr/>
        </p:nvCxnSpPr>
        <p:spPr>
          <a:xfrm flipH="1">
            <a:off x="6715599" y="2048742"/>
            <a:ext cx="298134" cy="236067"/>
          </a:xfrm>
          <a:prstGeom prst="line">
            <a:avLst/>
          </a:prstGeom>
          <a:ln w="0">
            <a:solidFill>
              <a:srgbClr val="FF1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4462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7BA2C0-5E2D-C560-6978-C49227CF35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圖片 11">
            <a:extLst>
              <a:ext uri="{FF2B5EF4-FFF2-40B4-BE49-F238E27FC236}">
                <a16:creationId xmlns:a16="http://schemas.microsoft.com/office/drawing/2014/main" id="{FB13380B-D9A6-8D34-CE31-EB6B71E30B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6703" y="1083005"/>
            <a:ext cx="6951933" cy="5563860"/>
          </a:xfrm>
          <a:prstGeom prst="rect">
            <a:avLst/>
          </a:prstGeom>
        </p:spPr>
      </p:pic>
      <p:sp>
        <p:nvSpPr>
          <p:cNvPr id="2" name="標題 1">
            <a:extLst>
              <a:ext uri="{FF2B5EF4-FFF2-40B4-BE49-F238E27FC236}">
                <a16:creationId xmlns:a16="http://schemas.microsoft.com/office/drawing/2014/main" id="{EFA96DB9-24A1-B741-108D-4652EF52E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9" y="299633"/>
            <a:ext cx="9740106" cy="369332"/>
          </a:xfrm>
        </p:spPr>
        <p:txBody>
          <a:bodyPr/>
          <a:lstStyle/>
          <a:p>
            <a:r>
              <a:rPr lang="de-DE" altLang="zh-TW" dirty="0" err="1"/>
              <a:t>Mask</a:t>
            </a:r>
            <a:r>
              <a:rPr lang="de-DE" altLang="zh-TW" dirty="0"/>
              <a:t> ID Analysis</a:t>
            </a:r>
            <a:endParaRPr lang="zh-TW" altLang="en-US" dirty="0"/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DE6EBB9F-238A-E329-0716-7D494051BB15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US" altLang="zh-TW" dirty="0"/>
              <a:t>Function introduction</a:t>
            </a:r>
            <a:endParaRPr lang="zh-TW" altLang="en-US" dirty="0"/>
          </a:p>
          <a:p>
            <a:endParaRPr lang="zh-TW" altLang="en-US" dirty="0"/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9D91EC97-1CCB-DEA7-CF6E-C19CDCA1FE26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0FC8FB8A-5F87-4612-8394-67244948451F}" type="datetime3">
              <a:rPr lang="en-US" noProof="0" smtClean="0"/>
              <a:t>21 March 2025</a:t>
            </a:fld>
            <a:endParaRPr lang="en-US" noProof="0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B794EC3C-ABA5-9743-CA43-EEC840EDF286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en-US" noProof="0"/>
              <a:t>ZEISS</a:t>
            </a:r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3DDE5E24-B33F-3620-F77A-1314E7FE6F79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C6A4AD45-2621-4550-9DC5-4911F1B5FA4D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8DBA7249-8B1E-2EB9-26BF-81FC91F491D1}"/>
              </a:ext>
            </a:extLst>
          </p:cNvPr>
          <p:cNvSpPr txBox="1"/>
          <p:nvPr/>
        </p:nvSpPr>
        <p:spPr>
          <a:xfrm>
            <a:off x="8720569" y="1444453"/>
            <a:ext cx="3136397" cy="18569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altLang="zh-TW" sz="1600" b="1" i="1" u="sng" dirty="0">
                <a:solidFill>
                  <a:srgbClr val="000000"/>
                </a:solidFill>
                <a:latin typeface="ZEISS Frutiger Next W1G"/>
              </a:rPr>
              <a:t>Mask ID </a:t>
            </a:r>
            <a:r>
              <a:rPr lang="en-US" altLang="zh-TW" sz="1600" b="1" i="1" u="sng" dirty="0" err="1">
                <a:solidFill>
                  <a:srgbClr val="000000"/>
                </a:solidFill>
                <a:latin typeface="ZEISS Frutiger Next W1G"/>
              </a:rPr>
              <a:t>Analysus</a:t>
            </a:r>
            <a:r>
              <a:rPr kumimoji="0" lang="en-US" altLang="zh-TW" sz="1600" b="1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 Tab</a:t>
            </a:r>
            <a:r>
              <a:rPr kumimoji="0" lang="en-US" altLang="zh-TW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ZEISS Frutiger Next W1G"/>
                <a:ea typeface="+mn-ea"/>
                <a:cs typeface="+mn-cs"/>
              </a:rPr>
              <a:t>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altLang="zh-TW" sz="1400" dirty="0"/>
              <a:t>Load/Unload Time Chart </a:t>
            </a:r>
            <a:r>
              <a:rPr lang="de-DE" altLang="zh-TW" sz="1400" dirty="0" err="1"/>
              <a:t>button</a:t>
            </a:r>
            <a:endParaRPr lang="en-US" altLang="zh-TW" sz="14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Show load/unload time information for the specific mask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altLang="zh-TW" sz="1400" dirty="0"/>
              <a:t>Duration Time Chart </a:t>
            </a:r>
            <a:r>
              <a:rPr lang="de-DE" altLang="zh-TW" sz="1400" dirty="0" err="1"/>
              <a:t>button</a:t>
            </a:r>
            <a:endParaRPr lang="en-US" altLang="zh-TW" sz="14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TW" sz="1400" dirty="0"/>
              <a:t>Show load/unload duration time for the specific mask 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2256148-512F-9CBF-C78E-D2A0774380EE}"/>
              </a:ext>
            </a:extLst>
          </p:cNvPr>
          <p:cNvSpPr/>
          <p:nvPr/>
        </p:nvSpPr>
        <p:spPr>
          <a:xfrm>
            <a:off x="1726680" y="2020382"/>
            <a:ext cx="892320" cy="159400"/>
          </a:xfrm>
          <a:prstGeom prst="rect">
            <a:avLst/>
          </a:prstGeom>
          <a:noFill/>
          <a:ln w="15875">
            <a:solidFill>
              <a:srgbClr val="FF1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ACCE7797-5405-8B12-D5AA-28A4EB17FEFF}"/>
              </a:ext>
            </a:extLst>
          </p:cNvPr>
          <p:cNvSpPr/>
          <p:nvPr/>
        </p:nvSpPr>
        <p:spPr>
          <a:xfrm>
            <a:off x="2654932" y="2025002"/>
            <a:ext cx="707104" cy="159400"/>
          </a:xfrm>
          <a:prstGeom prst="rect">
            <a:avLst/>
          </a:prstGeom>
          <a:noFill/>
          <a:ln w="15875">
            <a:solidFill>
              <a:srgbClr val="FF1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ZEISS Frutiger Next W1G"/>
              <a:ea typeface="+mn-ea"/>
              <a:cs typeface="+mn-cs"/>
            </a:endParaRPr>
          </a:p>
        </p:txBody>
      </p:sp>
      <p:pic>
        <p:nvPicPr>
          <p:cNvPr id="16" name="圖片 15">
            <a:extLst>
              <a:ext uri="{FF2B5EF4-FFF2-40B4-BE49-F238E27FC236}">
                <a16:creationId xmlns:a16="http://schemas.microsoft.com/office/drawing/2014/main" id="{8A509342-D71E-1CDD-D997-274C1B9ACF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88636" y="3531658"/>
            <a:ext cx="5003081" cy="2925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996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2121713-4935-4c8b-a81e-9e6278b8e607"/>
  <p:tag name="EE4P_AGENDAWIZARD" val="&lt;ee4p&gt;&lt;layouts&gt;&lt;layout name=&quot;Section Divider Agenda&quot; id=&quot;491_1&quot;&gt;&lt;standard&gt;&lt;textframe horizontalAnchor=&quot;1&quot; marginBottom=&quot;0&quot; marginLeft=&quot;0&quot; marginRight=&quot;0&quot; marginTop=&quot;0&quot; orientation=&quot;1&quot; verticalAnchor=&quot;1&quot; /&gt;&lt;font name=&quot;+mn-lt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1&quot; fontSize=&quot;1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5.71654&quot; /&gt;&lt;column field=&quot;topic&quot; label=&quot;Topic&quot; leftSpacing=&quot;11.36126&quot; rightDistribute=&quot;1&quot; dock=&quot;1&quot; /&gt;&lt;column field=&quot;responsible&quot; label=&quot;Responsible&quot; visible=&quot;1&quot; checked=&quot;0&quot; leftSpacing=&quot;10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20&quot; rightSpacing=&quot;0&quot; dock=&quot;2&quot; /&gt;&lt;column field=&quot;pageno&quot; label=&quot;Page No.&quot; visible=&quot;0&quot; checked=&quot;0&quot; leftSpacing=&quot;20&quot; rightSpacing=&quot;0&quot; dock=&quot;2&quot; /&gt;&lt;/columns&gt;&lt;position left=&quot;40.81252&quot; top=&quot;133.7706&quot; width=&quot;878.7402&quot; height=&quot;351.4961&quot; /&gt;&lt;settings allowedSizingModeIds=&quot;1|2&quot; allowedFontSizes=&quot;8|9|10|10.5|11|12|14|16|18&quot; allowedTimeFormatIds=&quot;1|2|3&quot; slideLayout=&quot;11&quot; customLayoutNameSingle=&quot;&quot; customLayoutName=&quot;Section Divider#Kapiteltrenner#Section Divider&quot; customLayoutSeparators=&quot;#&quot; customLayoutIndex=&quot;&quot; showBreak=&quot;1&quot; singleAgendaSlideSelected=&quot;0&quot; backupSlideTitle=&quot;Backup: %agendaName%&quot; topMargin=&quot;0&quot; leftMargin=&quot;0&quot; allowedLevels=&quot;2&quot; itemNoFormats=&quot;{1:2}¦{1}.{2}&quot; /&gt;&lt;cases&gt;&lt;case level=&quot;1&quot; selected=&quot;0&quot; break=&quot;0&quot; topMinSpacing=&quot;10.5&quot; topMaxSpacing=&quot;10.5&quot; bottomMinSpacing=&quot;0&quot; bottomMaxSpacing=&quot;0&quot;&gt;&lt;element type=&quot;line&quot; value=&quot;&quot; filter=&quot;2&quot;&gt;&lt;position left=&quot;0&quot; top=&quot;itemHeight+5.25*scale*fontScale&quot; width=&quot;agendaWidth&quot; height=&quot;0&quot; /&gt;&lt;line style=&quot;1&quot; dashStyle=&quot;1&quot; foreColor=&quot;#dce3e9&quot; transparency=&quot;0&quot; visible=&quot;1&quot; weight=&quot;0.75&quot; /&gt;&lt;/element&gt;&lt;element type=&quot;line&quot; value=&quot;&quot;&gt;&lt;position left=&quot;0&quot; top=&quot;-5.25*scale*fontScale&quot; width=&quot;agendaWidth&quot; height=&quot;0&quot; /&gt;&lt;line style=&quot;1&quot; dashStyle=&quot;1&quot; foreColor=&quot;#dce3e9&quot; transparency=&quot;0&quot; visible=&quot;1&quot; weight=&quot;0.75&quot; /&gt;&lt;/element&gt;&lt;element field=&quot;itemno&quot; type=&quot;autoshape&quot; autoShapeType=&quot;1&quot;&gt;&lt;textframe verticalAnchor=&quot;3&quot; marginRight=&quot;0&quot; /&gt;&lt;paragraphformat alignment=&quot;1&quot; /&gt;&lt;font color=&quot;#0f2db3&quot; bold=&quot;1&quot; relativeSize=&quot;2&quot; /&gt;&lt;/element&gt;&lt;element field=&quot;topic&quot; type=&quot;autoshape&quot; autoShapeType=&quot;1&quot;&gt;&lt;paragraphformat alignment=&quot;1&quot; /&gt;&lt;textframe marginLeft=&quot;0&quot; verticalAnchor=&quot;3&quot; /&gt;&lt;/element&gt;&lt;element field=&quot;responsible&quot; type=&quot;autoshape&quot; autoShapeType=&quot;1&quot;&gt;&lt;paragraphformat alignment=&quot;1&quot; /&gt;&lt;textframe marginLeft=&quot;0&quot; verticalAnchor=&quot;3&quot; /&gt;&lt;/element&gt;&lt;element field=&quot;timeslot&quot; type=&quot;autoshape&quot; autoShapeType=&quot;1&quot;&gt;&lt;paragraphformat alignment=&quot;1&quot; /&gt;&lt;textframe marginLeft=&quot;0&quot; verticalAnchor=&quot;3&quot; /&gt;&lt;/element&gt;&lt;element field=&quot;pageno&quot; type=&quot;autoshape&quot; autoShapeType=&quot;1&quot;&gt;&lt;paragraphformat alignment=&quot;3&quot; /&gt;&lt;textframe marginLeft=&quot;0&quot; verticalAnchor=&quot;3&quot; /&gt;&lt;/element&gt;&lt;/case&gt;&lt;case level=&quot;1&quot; selected=&quot;1&quot; break=&quot;0&quot; topMinSpacing=&quot;10.5&quot; topMaxSpacing=&quot;10.5&quot; bottomMinSpacing=&quot;0&quot; bottomMaxSpacing=&quot;0&quot;&gt;&lt;element type=&quot;autoshape&quot; autoShapeType=&quot;1&quot; value=&quot;&quot;&gt;&lt;position left=&quot;-40.81252&quot; top=&quot;-5.25*scale*fontScale&quot; width=&quot;960&quot; height=&quot;1.25+itemHeight+10.5*scale*fontScale&quot; /&gt;&lt;fill foreColor=&quot;#0f2db3&quot; visible=&quot;1&quot; /&gt;&lt;/element&gt;&lt;element field=&quot;itemno&quot; type=&quot;autoshape&quot; autoShapeType=&quot;1&quot;&gt;&lt;textframe verticalAnchor=&quot;3&quot; marginRight=&quot;0&quot; /&gt;&lt;paragraphformat alignment=&quot;1&quot; /&gt;&lt;font color=&quot;14&quot; bold=&quot;1&quot; relativeSize=&quot;2&quot; /&gt;&lt;/element&gt;&lt;element field=&quot;topic&quot; type=&quot;autoshape&quot; autoShapeType=&quot;1&quot;&gt;&lt;paragraphformat alignment=&quot;1&quot; /&gt;&lt;textframe marginLeft=&quot;0&quot; verticalAnchor=&quot;3&quot; /&gt;&lt;font color=&quot;14&quot; /&gt;&lt;/element&gt;&lt;element field=&quot;responsible&quot; type=&quot;autoshape&quot; autoShapeType=&quot;1&quot;&gt;&lt;paragraphformat alignment=&quot;1&quot; /&gt;&lt;textframe marginLeft=&quot;0&quot; verticalAnchor=&quot;3&quot; /&gt;&lt;font color=&quot;14&quot; /&gt;&lt;/element&gt;&lt;element field=&quot;timeslot&quot; type=&quot;autoshape&quot; autoShapeType=&quot;1&quot;&gt;&lt;paragraphformat alignment=&quot;1&quot; /&gt;&lt;textframe marginLeft=&quot;0&quot; verticalAnchor=&quot;3&quot; /&gt;&lt;font color=&quot;14&quot; /&gt;&lt;/element&gt;&lt;element field=&quot;pageno&quot; type=&quot;autoshape&quot; autoShapeType=&quot;1&quot;&gt;&lt;paragraphformat alignment=&quot;3&quot; /&gt;&lt;textframe marginLeft=&quot;0&quot; verticalAnchor=&quot;3&quot; /&gt;&lt;font color=&quot;14&quot; /&gt;&lt;/element&gt;&lt;/case&gt;&lt;case level=&quot;2&quot; selected=&quot;0&quot; break=&quot;0&quot; topMinSpacing=&quot;10.5&quot; topMaxSpacing=&quot;10.5&quot; bottomMinSpacing=&quot;0&quot; bottomMaxSpacing=&quot;0&quot;&gt;&lt;element type=&quot;line&quot; value=&quot;&quot; filter=&quot;2&quot;&gt;&lt;position left=&quot;0&quot; top=&quot;itemHeight+5.25*scale*fontScale&quot; width=&quot;agendaWidth&quot; height=&quot;0&quot; /&gt;&lt;line style=&quot;1&quot; dashStyle=&quot;1&quot; foreColor=&quot;#dce3e9&quot; transparency=&quot;0&quot; visible=&quot;1&quot; weight=&quot;0.75&quot; /&gt;&lt;/element&gt;&lt;element type=&quot;line&quot; value=&quot;&quot;&gt;&lt;position left=&quot;35.71654*scale*fontScale&quot; top=&quot;-5.25*scale*fontScale&quot; width=&quot;agendaWidth-35.71654*scale*fontScale&quot; height=&quot;0&quot; /&gt;&lt;line style=&quot;1&quot; dashStyle=&quot;1&quot; foreColor=&quot;#dce3e9&quot; transparency=&quot;0&quot; visible=&quot;1&quot; weight=&quot;0.75&quot; /&gt;&lt;/element&gt;&lt;element field=&quot;itemno&quot; type=&quot;autoshape&quot; autoShapeType=&quot;1&quot; indent=&quot;(level-1)*(itemSingleHeight+topicLeftSpacing+1.788425)&quot; indentType=&quot;1&quot;&gt;&lt;position height=&quot;33.92811*scale*fontScale&quot; /&gt;&lt;textframe verticalAnchor=&quot;3&quot; marginRight=&quot;0&quot; /&gt;&lt;paragraphformat alignment=&quot;1&quot; /&gt;&lt;/element&gt;&lt;element field=&quot;topic&quot; type=&quot;autoshape&quot; autoShapeType=&quot;1&quot; indent=&quot;(level-1)*(itemSingleHeight)&quot; indentType=&quot;2&quot;&gt;&lt;paragraphformat alignment=&quot;1&quot; /&gt;&lt;textframe marginLeft=&quot;0&quot; verticalAnchor=&quot;3&quot; /&gt;&lt;/element&gt;&lt;element field=&quot;responsible&quot; type=&quot;autoshape&quot; autoShapeType=&quot;1&quot; indent=&quot;(level-1)*(itemSingleHeight)&quot; indentType=&quot;1&quot;&gt;&lt;paragraphformat alignment=&quot;1&quot; /&gt;&lt;textframe marginLeft=&quot;0&quot; verticalAnchor=&quot;3&quot; /&gt;&lt;/element&gt;&lt;element field=&quot;timeslot&quot; type=&quot;autoshape&quot; autoShapeType=&quot;1&quot;&gt;&lt;paragraphformat alignment=&quot;1&quot; /&gt;&lt;textframe marginLeft=&quot;0&quot; verticalAnchor=&quot;3&quot; /&gt;&lt;/element&gt;&lt;element field=&quot;pageno&quot; type=&quot;autoshape&quot; autoShapeType=&quot;1&quot;&gt;&lt;paragraphformat alignment=&quot;3&quot; /&gt;&lt;textframe marginLeft=&quot;0&quot; verticalAnchor=&quot;3&quot; /&gt;&lt;/element&gt;&lt;/case&gt;&lt;case level=&quot;2&quot; selected=&quot;1&quot; break=&quot;0&quot; topMinSpacing=&quot;10.5&quot; topMaxSpacing=&quot;10.5&quot; bottomMinSpacing=&quot;0&quot; bottomMaxSpacing=&quot;0&quot;&gt;&lt;element type=&quot;autoshape&quot; autoShapeType=&quot;1&quot; value=&quot;&quot;&gt;&lt;position left=&quot;-40.81252&quot; top=&quot;-5.25*scale*fontScale&quot; width=&quot;960&quot; height=&quot;1.25+itemHeight+10.5*scale*fontScale&quot; /&gt;&lt;fill foreColor=&quot;#0f2db3&quot; visible=&quot;1&quot; /&gt;&lt;/element&gt;&lt;element field=&quot;itemno&quot; type=&quot;autoshape&quot; autoShapeType=&quot;1&quot; indent=&quot;(level-1)*(itemSingleHeight+topicLeftSpacing+1.788425)&quot; indentType=&quot;1&quot;&gt;&lt;position height=&quot;33.92811*scale*fontScale&quot; /&gt;&lt;textframe verticalAnchor=&quot;3&quot; marginRight=&quot;0&quot; /&gt;&lt;paragraphformat alignment=&quot;1&quot; /&gt;&lt;font color=&quot;14&quot; /&gt;&lt;/element&gt;&lt;element field=&quot;topic&quot; type=&quot;autoshape&quot; autoShapeType=&quot;1&quot; indent=&quot;(level-1)*(itemSingleHeight)&quot; indentType=&quot;2&quot;&gt;&lt;paragraphformat alignment=&quot;1&quot; /&gt;&lt;textframe marginLeft=&quot;0&quot; verticalAnchor=&quot;3&quot; /&gt;&lt;font color=&quot;14&quot; /&gt;&lt;/element&gt;&lt;element field=&quot;responsible&quot; type=&quot;autoshape&quot; autoShapeType=&quot;1&quot; indent=&quot;(level-1)*(itemSingleHeight)&quot; indentType=&quot;1&quot;&gt;&lt;paragraphformat alignment=&quot;1&quot; /&gt;&lt;textframe marginLeft=&quot;0&quot; verticalAnchor=&quot;3&quot; /&gt;&lt;font color=&quot;14&quot; /&gt;&lt;/element&gt;&lt;element field=&quot;timeslot&quot; type=&quot;autoshape&quot; autoShapeType=&quot;1&quot;&gt;&lt;paragraphformat alignment=&quot;1&quot; /&gt;&lt;textframe marginLeft=&quot;0&quot; verticalAnchor=&quot;3&quot; /&gt;&lt;font color=&quot;14&quot; /&gt;&lt;/element&gt;&lt;element field=&quot;pageno&quot; type=&quot;autoshape&quot; autoShapeType=&quot;1&quot;&gt;&lt;paragraphformat alignment=&quot;3&quot; /&gt;&lt;textframe marginLeft=&quot;0&quot; verticalAnchor=&quot;3&quot; /&gt;&lt;font color=&quot;14&quot; /&gt;&lt;/element&gt;&lt;/case&gt;&lt;case level=&quot;1&quot; selected=&quot;0&quot; break=&quot;1&quot; topMinSpacing=&quot;10.5&quot; topMaxSpacing=&quot;10.5&quot; bottomMinSpacing=&quot;0&quot; bottomMaxSpacing=&quot;0&quot;&gt;&lt;element type=&quot;line&quot; value=&quot;&quot; filter=&quot;2&quot;&gt;&lt;position left=&quot;0&quot; top=&quot;itemHeight+5.25scale*fontScale&quot; width=&quot;agendaWidth&quot; height=&quot;0&quot; /&gt;&lt;line style=&quot;1&quot; dashStyle=&quot;1&quot; foreColor=&quot;#dce3e9&quot; transparency=&quot;0&quot; visible=&quot;1&quot; weight=&quot;0.75&quot; /&gt;&lt;/element&gt;&lt;element type=&quot;line&quot; value=&quot;&quot;&gt;&lt;position left=&quot;0&quot; top=&quot;-5.25*scale*fontScale&quot; width=&quot;agendaWidth&quot; height=&quot;0&quot; /&gt;&lt;line style=&quot;1&quot; dashStyle=&quot;1&quot; foreColor=&quot;#dce3e9&quot; transparency=&quot;0&quot; visible=&quot;1&quot; weight=&quot;0.75&quot; /&gt;&lt;/element&gt;&lt;element field=&quot;topic&quot; type=&quot;autoshape&quot; autoShapeType=&quot;1&quot;&gt;&lt;position height=&quot;33.92811*scale*fontScale&quot; /&gt;&lt;paragraphformat alignment=&quot;1&quot; /&gt;&lt;textframe marginLeft=&quot;0&quot; verticalAnchor=&quot;3&quot; /&gt;&lt;/element&gt;&lt;element field=&quot;responsible&quot; type=&quot;autoshape&quot; autoShapeType=&quot;1&quot;&gt;&lt;paragraphformat alignment=&quot;1&quot; /&gt;&lt;textframe marginLeft=&quot;0&quot; verticalAnchor=&quot;3&quot; /&gt;&lt;/element&gt;&lt;element field=&quot;timeslot&quot; type=&quot;autoshape&quot; autoShapeType=&quot;1&quot;&gt;&lt;paragraphformat alignment=&quot;1&quot; /&gt;&lt;textframe marginLeft=&quot;0&quot; verticalAnchor=&quot;3&quot; /&gt;&lt;/element&gt;&lt;element field=&quot;pageno&quot; type=&quot;autoshape&quot; autoShapeType=&quot;1&quot;&gt;&lt;paragraphformat alignment=&quot;3&quot; /&gt;&lt;textframe marginLeft=&quot;0&quot; verticalAnchor=&quot;3&quot; /&gt;&lt;/element&gt;&lt;/case&gt;&lt;case level=&quot;1&quot; selected=&quot;1&quot; break=&quot;1&quot; topMinSpacing=&quot;10.5&quot; topMaxSpacing=&quot;10.5&quot; bottomMinSpacing=&quot;0&quot; bottomMaxSpacing=&quot;0&quot;&gt;&lt;element type=&quot;autoshape&quot; autoShapeType=&quot;1&quot; value=&quot;&quot;&gt;&lt;position left=&quot;-40.81252&quot; top=&quot;-5.25*scale*fontScale&quot; width=&quot;960&quot; height=&quot;1.25+itemHeight+10.5*scale*fontScale&quot; /&gt;&lt;fill foreColor=&quot;#0f2db3&quot; visible=&quot;1&quot; /&gt;&lt;/element&gt;&lt;element field=&quot;topic&quot; type=&quot;autoshape&quot; autoShapeType=&quot;1&quot;&gt;&lt;position height=&quot;33.92811*scale*fontScale&quot; /&gt;&lt;paragraphformat alignment=&quot;1&quot; /&gt;&lt;textframe marginLeft=&quot;0&quot; verticalAnchor=&quot;3&quot; /&gt;&lt;font color=&quot;14&quot; /&gt;&lt;/element&gt;&lt;element field=&quot;responsible&quot; type=&quot;autoshape&quot; autoShapeType=&quot;1&quot;&gt;&lt;paragraphformat alignment=&quot;1&quot; /&gt;&lt;textframe marginLeft=&quot;0&quot; verticalAnchor=&quot;3&quot; /&gt;&lt;font color=&quot;14&quot; /&gt;&lt;/element&gt;&lt;element field=&quot;timeslot&quot; type=&quot;autoshape&quot; autoShapeType=&quot;1&quot;&gt;&lt;paragraphformat alignment=&quot;1&quot; /&gt;&lt;textframe marginLeft=&quot;0&quot; verticalAnchor=&quot;3&quot; /&gt;&lt;font color=&quot;14&quot; /&gt;&lt;/element&gt;&lt;element field=&quot;pageno&quot; type=&quot;autoshape&quot; autoShapeType=&quot;1&quot;&gt;&lt;paragraphformat alignment=&quot;3&quot; /&gt;&lt;textframe marginLeft=&quot;0&quot; verticalAnchor=&quot;3&quot; /&gt;&lt;font color=&quot;14&quot; /&gt;&lt;/element&gt;&lt;/case&gt;&lt;/cases&gt;&lt;elements /&gt;&lt;/layout&gt;&lt;/layouts&gt;&lt;contents&gt;&lt;agenda name=&quot;New Agenda&quot; title=&quot;Agenda&quot; subtitle=&quot;&quot; sizingModeId=&quot;1&quot; fontSize=&quot;14&quot; fontSizeAuto=&quot;1&quot; startTime=&quot;540&quot; timeFormatId=&quot;1&quot; startItemNo=&quot;1&quot; createSingleAgendaSlide=&quot;1&quot; createSeparatingSlides=&quot;1&quot; createBackupSlide=&quot;1&quot; layoutId=&quot;491_1&quot; hideSeparatingSlides=&quot;0&quot; createSections=&quot;0&quot; singleSlideId=&quot;227733ab-16bc-4d63-b054-6aa7f4be543d&quot; backupSlideId=&quot;3e34caca-8749-4820-af83-c430034048c2&quot;&gt;&lt;columns leftSpacing=&quot;0&quot; rightSpacing=&quot;0&quot;&gt;&lt;column field=&quot;itemno&quot; label=&quot;No.&quot; checked=&quot;1&quot; leftSpacing=&quot;0&quot; rightSpacing=&quot;0&quot; dock=&quot;1&quot; fixedWidth=&quot;35.71654&quot; /&gt;&lt;column field=&quot;topic&quot; label=&quot;Topic&quot; leftSpacing=&quot;11.36126&quot; rightDistribute=&quot;1&quot; dock=&quot;1&quot; rightSpacing=&quot;410.8425&quot; /&gt;&lt;column field=&quot;responsible&quot; label=&quot;Responsible&quot; visible=&quot;1&quot; checked=&quot;0&quot; leftSpacing=&quot;10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20&quot; rightSpacing=&quot;0&quot; dock=&quot;2&quot; /&gt;&lt;column field=&quot;pageno&quot; label=&quot;Page No.&quot; visible=&quot;0&quot; checked=&quot;0&quot; leftSpacing=&quot;20&quot; rightSpacing=&quot;0&quot; dock=&quot;2&quot; /&gt;&lt;/columns&gt;&lt;items&gt;&lt;item duration=&quot;30&quot; id=&quot;5f35373e-53a8-4918-a20c-fe9517d761bb&quot; parentId=&quot;&quot; level=&quot;1&quot; generateAgendaSlide=&quot;1&quot; showAgendaItem=&quot;1&quot; isBreak=&quot;0&quot; topic=&quot;Overview&quot; agendaSlideId=&quot;1767bb64-6006-4e2b-aff0-1a0156ec3efa&quot; /&gt;&lt;item duration=&quot;30&quot; id=&quot;a2d94bda-38a4-4ab9-8f6b-97f342fc436e&quot; parentId=&quot;&quot; level=&quot;1&quot; generateAgendaSlide=&quot;1&quot; showAgendaItem=&quot;1&quot; isBreak=&quot;0&quot; topic=&quot;Safety - GMERIT-1 NO2 gas bottle leakage issue&quot; agendaSlideId=&quot;951174c5-dd48-4f7c-884b-9a32173bfc7a&quot; /&gt;&lt;item duration=&quot;30&quot; id=&quot;ae0e45f9-71c0-4e6e-9b8b-9c160c775b86&quot; parentId=&quot;&quot; level=&quot;1&quot; generateAgendaSlide=&quot;1&quot; showAgendaItem=&quot;1&quot; isBreak=&quot;0&quot; topic=&quot;Win7 &amp;amp; Win10 Operation Side Effect Survey&quot; agendaSlideId=&quot;2e045de7-56c2-4461-ba9e-272a60024c5b&quot; /&gt;&lt;item duration=&quot;30&quot; id=&quot;e0065fcc-5628-42c3-a754-f6e3e0e25054&quot; parentId=&quot;&quot; level=&quot;1&quot; generateAgendaSlide=&quot;1&quot; showAgendaItem=&quot;1&quot; isBreak=&quot;0&quot; topic=&quot;PM failed review - GMERIT-8 liner tube FA progress&quot; agendaSlideId=&quot;31ba16a2-d815-4fa5-9385-2d0845419604&quot; /&gt;&lt;item duration=&quot;30&quot; id=&quot;fbbbfb1f-85fa-4269-9a83-b51bc57c6c32&quot; parentId=&quot;&quot; level=&quot;1&quot; generateAgendaSlide=&quot;1&quot; showAgendaItem=&quot;1&quot; isBreak=&quot;0&quot; topic=&quot;Cost reduction - Enlarge H2O/XeF2 quantity&quot; agendaSlideId=&quot;e4ff1177-cb2b-41ba-9057-2f3e77d61969&quot; /&gt;&lt;item duration=&quot;30&quot; id=&quot;0c2ba5b9-ad47-44c7-a150-200aa6544729&quot; parentId=&quot;&quot; level=&quot;1&quot; generateAgendaSlide=&quot;1&quot; showAgendaItem=&quot;1&quot; isBreak=&quot;0&quot; topic=&quot;Regular review - All MeRit neXT tools alarm trend chart and next action&quot; agendaSlideId=&quot;d2b67074-1551-4db7-a486-cade71d04b0f&quot; /&gt;&lt;/items&gt;&lt;/agenda&gt;&lt;/contents&gt;&lt;/ee4p&gt;"/>
</p:tagLst>
</file>

<file path=ppt/theme/theme1.xml><?xml version="1.0" encoding="utf-8"?>
<a:theme xmlns:a="http://schemas.openxmlformats.org/drawingml/2006/main" name="ZEISS Presentation Master">
  <a:themeElements>
    <a:clrScheme name="ZEIS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55ED2"/>
      </a:accent1>
      <a:accent2>
        <a:srgbClr val="4895DD"/>
      </a:accent2>
      <a:accent3>
        <a:srgbClr val="6AB0E2"/>
      </a:accent3>
      <a:accent4>
        <a:srgbClr val="A7CCED"/>
      </a:accent4>
      <a:accent5>
        <a:srgbClr val="C6DAF2"/>
      </a:accent5>
      <a:accent6>
        <a:srgbClr val="E3F1FC"/>
      </a:accent6>
      <a:hlink>
        <a:srgbClr val="008BD0"/>
      </a:hlink>
      <a:folHlink>
        <a:srgbClr val="000000"/>
      </a:folHlink>
    </a:clrScheme>
    <a:fontScheme name="ZEISS">
      <a:majorFont>
        <a:latin typeface="ZEISS Frutiger Next W1G Heavy"/>
        <a:ea typeface=""/>
        <a:cs typeface=""/>
      </a:majorFont>
      <a:minorFont>
        <a:latin typeface="ZEISS Frutiger Next W1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6F6F6"/>
        </a:solidFill>
        <a:ln>
          <a:noFill/>
        </a:ln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8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ZEISS Frutiger Next W1G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8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ZEISS Frutiger Next W1G"/>
            <a:ea typeface="+mn-ea"/>
            <a:cs typeface="+mn-cs"/>
          </a:defRPr>
        </a:defPPr>
      </a:lstStyle>
    </a:txDef>
  </a:objectDefaults>
  <a:extraClrSchemeLst/>
  <a:custClrLst>
    <a:custClr name="ZEISS White">
      <a:srgbClr val="FFFFFF"/>
    </a:custClr>
    <a:custClr name="ZEISS Indigo">
      <a:srgbClr val="141E8C"/>
    </a:custClr>
    <a:custClr name="ZEISS Black">
      <a:srgbClr val="000000"/>
    </a:custClr>
    <a:custClr name="ZEISS Cyan">
      <a:srgbClr val="008BD0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ZEISS Black">
      <a:srgbClr val="000000"/>
    </a:custClr>
    <a:custClr name="ZEISS Gray 0 Ultradark">
      <a:srgbClr val="333333"/>
    </a:custClr>
    <a:custClr name="ZEISS Gray 1 Dark">
      <a:srgbClr val="4D4D4D"/>
    </a:custClr>
    <a:custClr name="ZEISS Gray 2 Semidark">
      <a:srgbClr val="666666"/>
    </a:custClr>
    <a:custClr name="ZEISS Gray 3 Medium">
      <a:srgbClr val="7F7F7F"/>
    </a:custClr>
    <a:custClr name="ZEISS Gray 4 Semilight">
      <a:srgbClr val="9B9B9B"/>
    </a:custClr>
    <a:custClr name="ZEISS Gray 5 Light">
      <a:srgbClr val="BCBCBC"/>
    </a:custClr>
    <a:custClr name="ZEISS Gray 6 Ultralight">
      <a:srgbClr val="DFDFDF"/>
    </a:custClr>
    <a:custClr name="ZEISS Gray 7 Semiwhite">
      <a:srgbClr val="F6F6F6"/>
    </a:custClr>
    <a:custClr name="ZEISS White">
      <a:srgbClr val="FFFFFF"/>
    </a:custClr>
    <a:custClr name="ZEISS Purple Red">
      <a:srgbClr val="A70240"/>
    </a:custClr>
    <a:custClr name="ZEISS Bright Orange Neon">
      <a:srgbClr val="FF1A00"/>
    </a:custClr>
    <a:custClr name="ZEISS Orange">
      <a:srgbClr val="EC6500"/>
    </a:custClr>
    <a:custClr name="ZEISS Bright Lemon">
      <a:srgbClr val="FECB00"/>
    </a:custClr>
    <a:custClr name="ZEISS Light Green">
      <a:srgbClr val="DEDE4C"/>
    </a:custClr>
    <a:custClr name="ZEISS Green">
      <a:srgbClr val="3C8A2E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NEU ZEISS-Presentation-Master-EN" id="{D4EB1C4F-5052-4AD1-B07C-6343E9AF5ACB}" vid="{DFC14729-30FD-4AAF-8737-5C62F2537D0E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5ffec32-6344-41ef-8891-c34e00225a7f">
      <Terms xmlns="http://schemas.microsoft.com/office/infopath/2007/PartnerControls"/>
    </lcf76f155ced4ddcb4097134ff3c332f>
    <TaxCatchAll xmlns="a113a509-0527-432c-9ec3-bf649dd1d40c" xsi:nil="true"/>
    <SharedWithUsers xmlns="a113a509-0527-432c-9ec3-bf649dd1d40c">
      <UserInfo>
        <DisplayName>Lisa Marie Beutel</DisplayName>
        <AccountId>664</AccountId>
        <AccountType/>
      </UserInfo>
      <UserInfo>
        <DisplayName>Leoff, Louisa</DisplayName>
        <AccountId>661</AccountId>
        <AccountType/>
      </UserInfo>
      <UserInfo>
        <DisplayName>Kressirer, Peter</DisplayName>
        <AccountId>659</AccountId>
        <AccountType/>
      </UserInfo>
      <UserInfo>
        <DisplayName>Roder, Thomas</DisplayName>
        <AccountId>660</AccountId>
        <AccountType/>
      </UserInfo>
    </SharedWithUsers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222EA15754DE44BEC98D0DEC56637B" ma:contentTypeVersion="18" ma:contentTypeDescription="Create a new document." ma:contentTypeScope="" ma:versionID="7edb254198dd35ccbab7a46510c65182">
  <xsd:schema xmlns:xsd="http://www.w3.org/2001/XMLSchema" xmlns:xs="http://www.w3.org/2001/XMLSchema" xmlns:p="http://schemas.microsoft.com/office/2006/metadata/properties" xmlns:ns1="http://schemas.microsoft.com/sharepoint/v3" xmlns:ns2="25ffec32-6344-41ef-8891-c34e00225a7f" xmlns:ns3="a113a509-0527-432c-9ec3-bf649dd1d40c" targetNamespace="http://schemas.microsoft.com/office/2006/metadata/properties" ma:root="true" ma:fieldsID="b149ec74fc325d7eafe4206ae5769ad4" ns1:_="" ns2:_="" ns3:_="">
    <xsd:import namespace="http://schemas.microsoft.com/sharepoint/v3"/>
    <xsd:import namespace="25ffec32-6344-41ef-8891-c34e00225a7f"/>
    <xsd:import namespace="a113a509-0527-432c-9ec3-bf649dd1d4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LengthInSeconds" minOccurs="0"/>
                <xsd:element ref="ns2:MediaServiceObjectDetectorVersion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ffec32-6344-41ef-8891-c34e00225a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da18aad-3179-4ae2-b712-780df034f2a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13a509-0527-432c-9ec3-bf649dd1d40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a998bb0-cfcd-47dc-b13c-d747d3686db7}" ma:internalName="TaxCatchAll" ma:showField="CatchAllData" ma:web="a113a509-0527-432c-9ec3-bf649dd1d4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AB29623-CE4D-4D72-84CB-7E7DC0E119A2}">
  <ds:schemaRefs>
    <ds:schemaRef ds:uri="25ffec32-6344-41ef-8891-c34e00225a7f"/>
    <ds:schemaRef ds:uri="a113a509-0527-432c-9ec3-bf649dd1d40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9488D2E-1B3D-4530-9BFE-2B4F3D46A85A}">
  <ds:schemaRefs>
    <ds:schemaRef ds:uri="25ffec32-6344-41ef-8891-c34e00225a7f"/>
    <ds:schemaRef ds:uri="a113a509-0527-432c-9ec3-bf649dd1d40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FA3349B-2FBF-4342-B6C8-BE663E5E66D8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28042244-bb51-4cd6-8034-7776fa3703e8}" enabled="0" method="" siteId="{28042244-bb51-4cd6-8034-7776fa3703e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ZEISS-Presentation-Master-Short-Version-EN</Template>
  <TotalTime>20569</TotalTime>
  <Words>624</Words>
  <Application>Microsoft Office PowerPoint</Application>
  <PresentationFormat>寬螢幕</PresentationFormat>
  <Paragraphs>171</Paragraphs>
  <Slides>13</Slides>
  <Notes>0</Notes>
  <HiddenSlides>0</HiddenSlides>
  <MMClips>0</MMClips>
  <ScaleCrop>false</ScaleCrop>
  <HeadingPairs>
    <vt:vector size="6" baseType="variant">
      <vt:variant>
        <vt:lpstr>使用字型</vt:lpstr>
      </vt:variant>
      <vt:variant>
        <vt:i4>9</vt:i4>
      </vt:variant>
      <vt:variant>
        <vt:lpstr>佈景主題</vt:lpstr>
      </vt:variant>
      <vt:variant>
        <vt:i4>1</vt:i4>
      </vt:variant>
      <vt:variant>
        <vt:lpstr>投影片標題</vt:lpstr>
      </vt:variant>
      <vt:variant>
        <vt:i4>13</vt:i4>
      </vt:variant>
    </vt:vector>
  </HeadingPairs>
  <TitlesOfParts>
    <vt:vector size="23" baseType="lpstr">
      <vt:lpstr>ZEISS Frutiger Next UI W05</vt:lpstr>
      <vt:lpstr>ZEISS Frutiger Next W1G Lt</vt:lpstr>
      <vt:lpstr>Arial</vt:lpstr>
      <vt:lpstr>Calibri</vt:lpstr>
      <vt:lpstr>Consolas</vt:lpstr>
      <vt:lpstr>Symbol</vt:lpstr>
      <vt:lpstr>Wingdings</vt:lpstr>
      <vt:lpstr>ZEISS Frutiger Next W1G</vt:lpstr>
      <vt:lpstr>ZEISS Frutiger Next W1G Heavy</vt:lpstr>
      <vt:lpstr>ZEISS Presentation Master</vt:lpstr>
      <vt:lpstr>LogAnalyzer Tool</vt:lpstr>
      <vt:lpstr>LogAnalyser Tool Introduction</vt:lpstr>
      <vt:lpstr>GUI Layout Introduction</vt:lpstr>
      <vt:lpstr>Log Parsing Operation</vt:lpstr>
      <vt:lpstr>Log Parsing Operation</vt:lpstr>
      <vt:lpstr>Log Parsing Operation </vt:lpstr>
      <vt:lpstr>Log Parsing Operation </vt:lpstr>
      <vt:lpstr>Work Flow</vt:lpstr>
      <vt:lpstr>Mask ID Analysis</vt:lpstr>
      <vt:lpstr>Install Log</vt:lpstr>
      <vt:lpstr>MSC Info </vt:lpstr>
      <vt:lpstr>MSC Info </vt:lpstr>
      <vt:lpstr>PowerPoint 簡報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ing | Internal Cover Slide</dc:title>
  <dc:creator>Chen, Ryan</dc:creator>
  <cp:lastModifiedBy>Kuo, Davian</cp:lastModifiedBy>
  <cp:revision>9</cp:revision>
  <dcterms:created xsi:type="dcterms:W3CDTF">2023-01-17T05:57:45Z</dcterms:created>
  <dcterms:modified xsi:type="dcterms:W3CDTF">2025-03-21T10:06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222EA15754DE44BEC98D0DEC56637B</vt:lpwstr>
  </property>
  <property fmtid="{D5CDD505-2E9C-101B-9397-08002B2CF9AE}" pid="3" name="Order">
    <vt:r8>16979900</vt:r8>
  </property>
  <property fmtid="{D5CDD505-2E9C-101B-9397-08002B2CF9AE}" pid="4" name="xd_Signature">
    <vt:bool>false</vt:bool>
  </property>
  <property fmtid="{D5CDD505-2E9C-101B-9397-08002B2CF9AE}" pid="5" name="SharedWithUsers">
    <vt:lpwstr>664;#Lisa Marie Beutel;#661;#Leoff, Louisa;#659;#Kressirer, Peter;#660;#Roder, Thomas</vt:lpwstr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  <property fmtid="{D5CDD505-2E9C-101B-9397-08002B2CF9AE}" pid="11" name="MediaServiceImageTags">
    <vt:lpwstr/>
  </property>
</Properties>
</file>